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8"/>
  </p:notesMasterIdLst>
  <p:sldIdLst>
    <p:sldId id="2147483647" r:id="rId5"/>
    <p:sldId id="256" r:id="rId6"/>
    <p:sldId id="257" r:id="rId7"/>
  </p:sldIdLst>
  <p:sldSz cx="12192000" cy="6858000"/>
  <p:notesSz cx="6797675" cy="9926638"/>
  <p:custDataLst>
    <p:tags r:id="rId9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BAAB"/>
    <a:srgbClr val="E4BAAD"/>
    <a:srgbClr val="DCA097"/>
    <a:srgbClr val="E6E7D2"/>
    <a:srgbClr val="F3EED8"/>
    <a:srgbClr val="CE6D6C"/>
    <a:srgbClr val="CC6666"/>
    <a:srgbClr val="D17976"/>
    <a:srgbClr val="F0F0F0"/>
    <a:srgbClr val="FFC2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83D964-6B69-4F2B-9A0A-C4E0C8A3D7BD}" v="470" dt="2025-05-09T13:48:26.705"/>
    <p1510:client id="{F74CD8A4-C1FC-44AE-A873-7990A188DD95}" v="504" dt="2025-05-09T13:30:08.787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B498E-4C83-4DC3-9A00-7FC74F9F5D6C}" type="datetimeFigureOut">
              <a:rPr lang="en-US" smtClean="0"/>
              <a:t>5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A6E28-55C1-42B2-A996-3EFCBA07F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90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80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F31C1-656A-45DB-AFD1-32DE2031D84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0427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BA6E28-55C1-42B2-A996-3EFCBA07FE7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183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Marketing spend - Prj Oasis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8.png"/><Relationship Id="rId3" Type="http://schemas.openxmlformats.org/officeDocument/2006/relationships/tags" Target="../tags/tag5.xml"/><Relationship Id="rId21" Type="http://schemas.openxmlformats.org/officeDocument/2006/relationships/image" Target="../media/image11.png"/><Relationship Id="rId7" Type="http://schemas.openxmlformats.org/officeDocument/2006/relationships/tags" Target="../tags/tag9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7.emf"/><Relationship Id="rId25" Type="http://schemas.openxmlformats.org/officeDocument/2006/relationships/image" Target="../media/image15.png"/><Relationship Id="rId2" Type="http://schemas.openxmlformats.org/officeDocument/2006/relationships/tags" Target="../tags/tag4.xml"/><Relationship Id="rId16" Type="http://schemas.openxmlformats.org/officeDocument/2006/relationships/image" Target="../media/image6.emf"/><Relationship Id="rId20" Type="http://schemas.openxmlformats.org/officeDocument/2006/relationships/image" Target="../media/image10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4.png"/><Relationship Id="rId5" Type="http://schemas.openxmlformats.org/officeDocument/2006/relationships/tags" Target="../tags/tag7.xml"/><Relationship Id="rId15" Type="http://schemas.openxmlformats.org/officeDocument/2006/relationships/image" Target="../media/image5.emf"/><Relationship Id="rId23" Type="http://schemas.openxmlformats.org/officeDocument/2006/relationships/image" Target="../media/image13.png"/><Relationship Id="rId10" Type="http://schemas.openxmlformats.org/officeDocument/2006/relationships/tags" Target="../tags/tag12.xml"/><Relationship Id="rId19" Type="http://schemas.openxmlformats.org/officeDocument/2006/relationships/image" Target="../media/image9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Relationship Id="rId22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18" Type="http://schemas.openxmlformats.org/officeDocument/2006/relationships/image" Target="../media/image13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8.png"/><Relationship Id="rId17" Type="http://schemas.openxmlformats.org/officeDocument/2006/relationships/image" Target="../media/image12.png"/><Relationship Id="rId2" Type="http://schemas.openxmlformats.org/officeDocument/2006/relationships/tags" Target="../tags/tag14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image" Target="../media/image1.emf"/><Relationship Id="rId5" Type="http://schemas.openxmlformats.org/officeDocument/2006/relationships/tags" Target="../tags/tag17.xml"/><Relationship Id="rId15" Type="http://schemas.openxmlformats.org/officeDocument/2006/relationships/image" Target="../media/image10.png"/><Relationship Id="rId10" Type="http://schemas.openxmlformats.org/officeDocument/2006/relationships/oleObject" Target="../embeddings/oleObject3.bin"/><Relationship Id="rId19" Type="http://schemas.openxmlformats.org/officeDocument/2006/relationships/image" Target="../media/image14.png"/><Relationship Id="rId4" Type="http://schemas.openxmlformats.org/officeDocument/2006/relationships/tags" Target="../tags/tag16.xml"/><Relationship Id="rId9" Type="http://schemas.openxmlformats.org/officeDocument/2006/relationships/notesSlide" Target="../notesSlides/notesSlide2.xml"/><Relationship Id="rId14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17.emf"/><Relationship Id="rId17" Type="http://schemas.openxmlformats.org/officeDocument/2006/relationships/image" Target="../media/image18.png"/><Relationship Id="rId2" Type="http://schemas.openxmlformats.org/officeDocument/2006/relationships/tags" Target="../tags/tag21.xml"/><Relationship Id="rId16" Type="http://schemas.openxmlformats.org/officeDocument/2006/relationships/image" Target="../media/image12.png"/><Relationship Id="rId20" Type="http://schemas.openxmlformats.org/officeDocument/2006/relationships/image" Target="../media/image8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image" Target="../media/image1.emf"/><Relationship Id="rId5" Type="http://schemas.openxmlformats.org/officeDocument/2006/relationships/tags" Target="../tags/tag24.xml"/><Relationship Id="rId15" Type="http://schemas.openxmlformats.org/officeDocument/2006/relationships/image" Target="../media/image11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15.png"/><Relationship Id="rId4" Type="http://schemas.openxmlformats.org/officeDocument/2006/relationships/tags" Target="../tags/tag23.xml"/><Relationship Id="rId9" Type="http://schemas.openxmlformats.org/officeDocument/2006/relationships/notesSlide" Target="../notesSlides/notesSlide3.xml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FC0EEC8-E9F4-B698-8C6D-EFE8477B60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C0EEC8-E9F4-B698-8C6D-EFE8477B6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tfpMGChart1504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vYNndUMnZlHhQlbK8FkNAfeWF5CLIuYNRTKXj0+frBxiLGdphrnK1NzWo3CCaZMhko1ZIH6F32ZZCa4T9IhvK1FzD+JHLMD7uGsalWR5ljjpTxdi+QCRF8iqAhAjqH9CUA7NWCzetsyoLOj+nPfOD/SuLdo3jhV9/j/agWJiO/xkjPnyYfNcJCSHEtINS4mknh53/yEDVHGnXYYRijzvj/gx40AURNVzCxoVICuIP3tA5xX32DA8XDZb92gzBIRkWcDL9+mKHj30KxphREpEI4MYItPrZuq3z3ubrPygIFYYXOHXeDukSD/aU93MCT1erBdpBBtnMMeFWgIzoQNREzqIBEHDBXTol4nEimsJrRJFWnqSCTELbTDVBU47+uqbP4s20iwONnI+s+qUy4IOz0YNFqr9DnEB1U5uj02nw1s3X/s8Dt3HKFlh+Er/AOBdQfVfZG+WB7JuRZrF8AunbQ/mRif0lyV8HsRzUTh9lnTHVCcKrnVUT4t66ag/XxMQdieSpSx5WwpkP2Z3FZmnliBuiG6oFYIfEqRi61y9pmrk+iKzuCcEyA5OjjgCgPqP7kHfEfP5W8uKTmfvYUaQy1IXcg8t4J/XHxjV93ujuWRJtfl3skXE4xk7CwbWCtdv1KGFJoYcS3OYNRd+yR+X6nCAk8WVY7jBzLb98yoG4rhQwYd0Y7EinllqkqW2i5BhTLJCs9ala+TwkVSf98aDkuViW7JFq5g12BkYHICscCP/M76vQAxnE900UthIEE3tsoOb72I6A+Zfo+OaQ6rgDav0pLb57pUQzYF4Ad5lv9zK4ZUq8JA34fPgbbC0B1ZD99BENq7f+O/RM6Uuld0QK7qZh8Y26MUQkAFZWU8e7BQePjdUbo9y6g7P0pGR75Y2l+bUfQXh3ZKqP/DnhOa0LVgkdPJWv9TyhrMxuxNfR+0Rbdjq7jxx8N6ZlPfndqhXY2Lp3UQvXE5vUBUL4lMcJcrZe2zWsGcBFE2oozG43mqgx1iFLl6TgOu6TRef1o3nepv/fwxBHdcvaYFkPcZc65wr2cadUI6Kfamk5Ku25HheGOXa49Jlehzx51zgBUiEtZv17FWd2CP1O8ucOhASJeuQ/X0zj3eY/Yqjvb50rmHtfj8A0ZdO3vmqhnZCyAEomc4m5wt+ukD7N6KPuORG6/7ygYVUU2yzeuMpBs+g3SOzjwAFx4Awmfuc2moLzvT46dcAfQUOcx5GlDkzgAj4sbvSIrejxlf4csod51QbzzATVWavnFLoXwru9MEQN//p7r8W0gmTztwCb24dR0OVQeBLsY+nn1KZXHAQfy+kfQ9VotqQGE2USyR5FEePzF8emHrtex9QOV0NmmQZKYgNjfimS/1UMuLXWkG2UaDv5687IXtT3JJAHZX6g6+ZVOvxvzFUcW/TYpW1Ve0TiMFuQJUwwf0QgVG4CXy3RLZQtRib3VjxcU6NCqImRsZrNCuAwQ/lJzEbsyQn+FTWLxbYEPRLyGPhcDwINAtFvpnhLK3idzmVXQ7TcqyZGtlHALVJGZL90dKVoY2o5meNg51J1ug2x8QHgy5b2zcr03DMMOD+l8NvOw9tZHE4FjrNJS/nxyRHDDRRUQJpUla87YSkMhjjq7xpfer1zxLZGYDidmubq6AYGoGKWcRuHVXCmmxSyI2bwqAEj/Okp1OV/3bdQzt6GFpW7ZseYCbTXOjxf/fFE/U0Rh/9NNA+L2LGlxp3hiCjog6sEyQcxky0AKkfxbzoiuANOFOes0JeIXqxKkqbewQnY4OV8qhAQ1MqorCunlHqMObG6ablQeyTIUBDK0DkO4XzSZVICvlwIg70vKpZPNjD4jFiEO9ZDmVrv6PQZAlPvUflpBtpcin6u53S/ILlejgnfLvAnXX6ZtHTKmCfeDglOJQCw16ujrHlanW8M7rXRTzPqybvAfMtl2SlpEl68rdhh8ZfsfR+//2BoH9yxleja0Jfom20Jf4/mU1XD+72bnC8l8rjXG5WaCxIv1/TYjK/qCN35qQ0alzfF0QW24QMsLYl2IS1SkpHSn39NvFFiH/MS/+ADLtkaX5WHVJV37hk3T36gki/gu65unQtP+0dxoNqTnV4eT1Mr9Q0Ha6AfficL+pteEjw41Zy9zeS/zn7TF+Lb3aNEMzrsG+EcwpwhgygUt+uLy4XNkaIY8PmTRBoYJHUXBgiMNJV5T0P8XDMCXiTHuVLHV2ku396nXY9xufnpdR+GPbLQI/sEqdZXP7L/ddLa0vqFAnJQJS8icPfKTFnXd7Z0Nwwx4MI6txhJSubTJkGYLUp+W/MP0yKz1HV91bGtEfUUzhjFWn9Iy/KZzdrxt049gYM3XGbgMH7Cu5bNN17b1rnvOyQ+kIC0V1PPTzrsdsuwv1dFhva/sjnqf9zunAaVHZvpC9iWmYxKAekQ85Nr6aLX2NEybPr9pZIDLwelKDmqsLbGPayKskzSEIhKqL4rYJJ4y4or8o38heT/ujlSKflBpP4RaDlQpqmX/nNTZ2XenlJJUzey7Ug4M8caIaX1Caoj3PE587PKdAXdx7ONhkZqYr+t8ou7oyj4UHvfO3+qr2F9HslceWUJu9sURudLcKfgYcDQn5WBL+PBwAlfkppQv98C8tWJR93XXRR6Slfqbx+xvGn1v3A3vYO0YxRuC5QcJKkm8UOkO37nRz5g2ztSqcd+OhDj+qB9CH7/B+Kg55ThIbNF0mVvpGV47sKZ6ywh9sENoTKXrxLlsbzRnu+i4GLYzfxVb4LCYEAmJyA6kuJARxlIkLf168NbN9H9fisDvm6nf3tuF2mpo1ZyK7ztc6XQMLm7ExZG7U85IUfRY6/JiK4YzLIMkVXIg2SCjs1YPwVUHAX0P3XATe7iicUbPxdtsM+O/7LMGoU99AlZ+keLH5gYaH3OxEx4Sjj3lSrxy1APW6KilGBD26mwrknExNVRJ6z8CSaDk+QLlfijLuph2AMMs1etGBr3NzS7W8TiMvEdgWgO8lnE6sTVMfSsKLcKu43vhovbO6lBipw7vYU/ugY2s6WgJLrUY34qyvs1bHIKA3OeKIreKolSkcPkg5vDcfQhzbk6vCjazm7FF7a/fsJaRCK6ovma5HMSO7xEEkXOCwCLnTBzr3v3Cp3YpGrqSO9gcBKtDeulsDl2nwKYu5RCoO4tj5XscwQX6vpX7+Md1L69E85b4FViPQ9se39jN263zOz2DqPhsfPfM11HFVVetUzSfXhhSUvm1BuL8ObvGk/33ZQSp9YFAEGcNuUFHa8m4Vwa2tchVxaY4mDcQyYF3ws1506mzzCIXPnFfUJ8GdwwdCjK2HZmoIT+sh4FrLesaepYRPf2axyU076xwP0JzHk3QHT+YqFVHdktKfJYbpxcIVY3IoL6ZJ5N286RXc7h0IQytp30ef2W57BhRI3HHFt1MYpC3L4qysOaaxDhCM0bFQQ93GXMMZjkfRomxhz3GY6AhPuyES5/t1DRFIwny6I1MbYnN//imo3xi6ozqMUuDEc58DPO536uRKnESv6KH2ayPYOZQ1528JJRmKyXcHmldty0fuA0w9snMWUuZfRHowBmUpKhDpeJgpro0BrdalKxX2dD9nVPt/QAW88BtUN2IFENp/3+RUgEWwpANH+IF+A4x69LTdQesal/bSRiFlm7hMc3GHg7hRGDXkY1oMWZfnYgyG/VePfdHKZ/Tq+kJs+KwnDoyQtYx7icowXZD12Laz8H/coIbtbae5tpO+EeA4HedKkHQbY3youKAEnsARlN8U1DXaSMVEX5gTqcHCO5wkPJrCr4A2t13HneKOt4o9AxP0xj9uDFQPpld0HuxIbWE3y5l0j1CKOQMhOOXzebfky8YOshWPtNf6Fx79uFSWKVUPZFkxrq60TU6YTM0ip2imV0DOI5NNo1j4gkgNwzvUSnz36Dfma76eE74yhP6vrpQa05mKYWlaRt2pvtRRiZ3Z8E8qBxkXKJbVkLvRsmxg+fzTzn0KpabqH0c30aDh2LFiO9xP85PFfgX7xX26lSSaN9Ruzqp1JJhm9WlJtTFIAII/I857fH47jPfjHuRqfzFyR2b7eyD7/6oVHQxsdimdLkJGessTX4DYCrBkFeC0PsgAUaMA+cSJfqbpck3otG1m5znBfEelRBa+dEQD14DGOK+7aFE4q6qXWVC8N5YAkLiMgl6LnM8SKWvOJAyWh0v/CcgoVK2dCO+FucrzkWeUH9BUG5oYBOqQ2Ytj3NamqrlNILQ/i4qzFBzC+gXbT9iMetCy5sICbGS6EQ7V3MaQr1BUcGBtRAHpXh+v3X/Oop8P6vkMbsr/EH1wDGj8DWcIS6c2wM9l8a5P9YZj0qKqdJUz00KTNdAbxgMipBfluy9ZjAujvtKaE31TvueGIzP6H9hf8pEeksiwCRZPrVmtiFDp/rME7f/WOWEypcVDmrbxycgcYGjQ+Hn9TWqjlwPmKiYJMwA8Cj6rVKbj01sLM/NM48xEPx4VTo3uJax25zieEvmOHOWg190B6NhwlblHsNUiXKYKQxiubDgyRCJPHQ9zOc877S+uu7aahDietXmVfQ3XTNmVcEq+y+DAzmJdIrV9xPSCLfO824/KIHTVICvVnKFJyh1Yh6IWS38KtWmamaNZxSOT5VMBtYuO0Ma9Ll04i4UGuIqlcplAX2+YNI2aNKIRBcNpM2V+NNShY8tqeiNd3Okk2SQfWVDk7X4GczEAaHI8u/5c4XtASdSTX7aJl77L+rrkJY0xoh/6bIJ/YGrwQKNJjEvlBG2EaSzJ7bjlAkSdGpopItTtFtK/TfahP/i55J0yjboIRC/kuA5Biy+IsHNZPvFUYjyXA9mVXFP2C5PSwUb6RITTgWpNQKABY1QmkzmURhI0eQiTVPcxa3l8JzHJB8kcoLxEBhaSstko23uvYRq7qsVkpYx57oCA2GHIeOHV16sJkZtItV/sqz+Pe44CHrEz/8Pfnlb+dbdQYH3neEnAD2OjkCGKSzqOh0sMrrwrclltbByQGAv+9WmeZ0m3oMNf4iW5IPTLvmAURRTkKlDBqOHQ8Y0FdZ6O7KiTnrLCZfh50GSLLs42rI2af6nTS3wNkxqMdXi6cFYjMaaYqAzHPgi7zG1+JyHvPqe/4AV1kzTtxtZ8N/fV560AWg1chPxizyKeUWHbtRD+as1MtACPi/tOnHDoKdChz5QXHMUPDolEIvB5Gy6GmG/qdRpEwAFFtcnP0YiGigL6xuwr5MF4dS9VWdTudyvyTgUcTOQqXdq92Emr2uuo1o0mV7D+4+Fa0b8XlSObqyDDumsKGybnoQCyC/k7cLXU9aUdLiYKYsc0xk2Klrod2y/6wP2CtLMcnWgO9blpCp4Jt2rZWWT1eo0crHhwGEZLpTKreudDzGISu5CcXxL985JCM+Yb7LHOLqAWHcRvZw1Qh+xtGU563J5JyE+sqV8FFwxG7umTaJv0KSTdh5cOPo/bYkDRWE/CZVKWtLZHBxu8wRdirmiEI2lOlHoMX0WSAYyCMPvkN9RfPAZxlz8YummlfeAgafnIuo/+6kqYAlVSfVlu48DhOcPSbo4zKtBm8jzJn+IZ1CW94bURHb9rREfWN9NyCSpj3ZvSEI9hB+D/HDXIQNuM4ETeeghMjs/M0+ycYLEGE/oNKynYCRUf1Y9oNSXfokZk1qEh7p2w4oMvQDnaurqXaeCgSmQJhvIWO906sSWJrLNd9gU7TH23MNKIdwoozlKIWBw7MO/r85yxHoDm7JltSnX1lWOdCEyEF7YAZmpaq9nmkjNaz77r+0qAR5FlAlTVhAId6Qrkn4WZb8HIBJBg84ePtkhQ2958EknfpkmTp2CF/Kjglao1wkcOAqosZ04T1jIScFNtOyBhJp8/x/oGWeQe3qv32H4NylNeSkpfC27/EKOHy7tmDcP3HeO26YgpaZR4I5LhfDGQgHJJmX/JfIULgvDAz8muPQlZj0v4NdtS+LvFy4IfVufl+wZJ2yO8c2zdVHFEcyPWhwZGcohlLM/ei4Z97XPi89rsF3wd3LHvPSQ3eII4XhJ9Uk/dVebO4wGvZh53iQl0MpVxsCEbQtjXSN82dVgr0q9CqnLesPOYoNHK+K+2V6fdLslkc/tC5n94Dr9V2cbtKQMwCvzMIAd3sgHYTpXbzPIUlerWcE4ul2q1/F7UWSVDbWyoPK6D4kFq5hoV0n/fE8mKjNxFIZ5zZ5mwcOvGN6eJnKoYTWPcaCzkU/kV+sXDjRgiqjZ3x/6Kal1OHv1D3Q5x0yVz8Dy/HGmJQgim0SmZTDTlDkdMv4a4kTcPwPKwyf19qcHn8+gsBWK/of+i7p1iBws4bChGSNQyJBdYyPvYHKc4npR71cb/Zqig51rwJ3CaENBMQxihSiIVA6FmKdl5Esbj+jqMST+dxWGav2KcSXDi1DVVsAmT62txpV/eiiRqH3W4d3ItztZGf6r+3MrFWznYEB7LauQY6D+1j46RtRsErqyY7VXxHwefca/m200UXI3AMZiLevzOsSoQ/ak7pPcgM7pK9ikOso3QDAyMXrFO9K7XtOP6vYWSoUZIjAGHhgnNnvMHMLvLFJciR28QJ2jda7gzShimtKIoS2MYiFFsZ5OtayYPVUAdzdZSBh6yFTV886DZRFjj09+F2ZTUHRgca0M6OPEVNsA/GZMnnnp9svNEChy622FjpbLhDFQ6cXDQ8D7xL+pw62gi5bcKlH8FI69gt0ibTxHJNNM5pKissf7NEKtNRcD1ToHMN+7p+fFR+yV/JYPkjoHaCSo+VMsqbXa9T6P+H7VQaV+hwVftInorjy3MlKXe0b1EMvWirLAipKdrWKTt6CAVxOM0TjhDrqmQ2oAQKk0d/Ngcxt5QS2eRDpSg7Wq0OWjSEQsi9GPuhSmxccwmVEfjEw7aeKiBczTE7QUDWenh8AxSLuJTD8Tif8mtKNNRSxPXdu7S+eCLNpTR+X8LKjor5MaGa0dkyoYe0/NRRLGSp5tG6vVkzO4Nq/7zVFxO6rQ4qkbaf5F4iqRwdFwEtjqQcQlYjzXYayk2pJIzb8Afu3roUUL83sEIaUtxQ4cHnLMvXFuviLEcbC3aYvfyMasHc+g4I35X99eyUOz5JtTz9YiXou0Yf2XyXcB+SQfb/l1xi0hB/pt8k4pyUelNwWM6FOe755MH/QsbN2xHRiljmvONZQPivZTTx+yfmG4e5GEAC1Wrt1p/ypS7bzgc/r3DRzHLnp5cD3za+8WDar24JjAP8Z2K+g8pfxHw48DuuWrO0ejS/9bo+emAzj9FmRsacqAo6B3zgSZxeX6B0lQ1fD5FyxH92SGJK9IhrUumKc0zOmz7mlZwxGT2T6ra0mUaS3C6nV2IaA6EMw3tsbM+V95MZ++aRSMDUOmYPjVyU8f8f8fb78tqKo4MukTkfL5XKAelotMV98qNsC9jMw5AY5eJSBDQfgvcBGydPczdrCXG7YUSYcGVNJD+fL4lLqOLGykHFQ7v++0MBLHsyDSLxk60Bz0ngXNGA4d+RGtis1NPuOf0H10C715nzzAhB0+keYxRyH89efm1vh31yW4iuNv9lhm3d6WriOQiTBU/bd58zZ5c6h8zzxx2ntLVyLW54S7DbzWWvhnOB1aubTHrNXNmPll4xKVwR8KQvb02DI4+XYiRGkzs21G/TeyP4ypUZk2OB0Xj8TK6HTASTc9XnkXytT3KIZ4iXRLL56lwTIKwAfEIhP1wqFzItMNE4aI1m/5rq6Bt0I0bBqhOHjzLkhn1i5itYDm0vRAYP7KaFwY+RUbW/ujejZWn6+1WEgd1GVt6l3q97IgPKNjqD4SpA3vHHN57htmQa1CcuWJMbInBkKtO1YZX8D7ZDBX5Av7iOvQ0sraAkx7OhuetDj/4WjiWnExihjXAb7duMYtlF9/sV1vHmh90Uq6rGSb4NUO6w3VCA4Fl7HA3MZFIfM05t6YmATZNaAMs+UTgs6QCDKacSm0eLFpo2gr4jBW6G900pIctNP3a/Noti8XysRaSHe9NrLSUTfJufdMFBL2N60XQRuEANU5iXuDQ9Pyjyphqf13s13B7Fq/hkaXbOw65ONzlUf9YFRXKXE5IZxMbRqJW2fRcrkCaWISoZALFFXZgTA27RUbK2RlHSpDPnALZWw2lB0WUrCKVXs8758zAokruUX+G+B9OkxpDGbUw7Q2FrhcUP0OfDFrKFkZjILpktVFAv+Vqmu1yqiGultPz0/JSzeKlRxVbpckGiX/NC1Uu8e7XgQ4uN1quvAPPJwxzvB5YGhDVK5JTOU/PrpnTT/4uUZ3o3PyC80BGU2OHawrNGLjSQd2GUhqSAOm6hZs2MDOir3ycb7kcl0ZbV1g+K0U15L/6FRJcWw3uLAWS8BMEUJ+LJC6fEEYGVYTZM5lSIFuAea93c99mL3RX0N1L73BBRZNhW5MtKScC8grA5mxMNkVuCfg8ZZUjhF0XjG61muOtPlMw/YbQCyThtbJXY38DLRhYnYUeZBvainSDJ87hNDxZxnlW3s2UWqqdziIlAmJacmivCHS1NjrN30qMACTYfqWMLsn1qlL1c/AgPrbElxNZuzMAALq9chCPgTM9gZG/a8q/Lh7TYBbEHfusFscHDxrqaKpNCV5z5eNPKMdthrERf3EoaEPRjvXCDXQMo5Qo2YxkeGgt5Lx+zLprM6SD/EiWY+QsU7/tG/5ADjs3ABJJbz9NZTFdswwJ1UItqEeMfHdMUUmgDB6bGPcGoJE8nfCyCOJLZ5wGeyJQQqFlCok6Oxh7hgGxcwWOAOhKSHZw9yAsBDWPfSkdpLnquqNtCnkxKkp9GcH4I5bSRyUFZI2xBU7Xfij11Zn/xGnD19SJlYlpbLDf1GEAzfS4tVs1UiW7N5Ip30jYDNGQuubkIAuBXTDVye0iy22/WdECrNHa/vnMLDo3bKqd4x+yps8k3+uKTznuoaMrKP2pOteZcvPZW4HoEm7E4Z8rj2X1XAhHgI0OJUg0wLNtSYyo7Zr3nCwDYSLuTF5LMX/67dpGAGH2qkmsjhHwJvv5Z7RWkIniYhnqhmlRrkH3ZBVvCZbO1zM07dPuefAO99I8wg5cUs6MYf6kSJgxTSFgqL4MrUB5Qjq8XCNkENiGsdlZvpuw3/JzGWWfRM4qGQIKmWx2POc2Mk5R0DDwj9PiCyzYtdGNeB4F6iN1FDrvbgDx9boMacDSICx8fv9TWuSTZyXDeuWT/IzdY2d1fEwTOlxqWyYOP+n36CGWyyiZBHQ6XzJb5sNv/7KF/v35YBphx8pDqt/5hkr8Mz1zEaNmfYU10sTOoXxJdV+54O1t8u/2cmreop44hUT3EZEWArtFUCsHyA/LAHEay20alqRu8u9g/zDwsiVARWjOAZ/Foa3mRpW4K/WIyD/i1PYtW6RKXmNaZC6EmlXJrqM/pJgm1Dbqu3G8Y2WVDHa2kdHFvjjrKBBxBlDtWQklPl/3zsw9yUUDRyGh0JgZ1vKmXjq4qC+54vksJ/Qgg4AJ7+81M00T+S1ixmQBfMVdAcl7pGFOjZIl0YRF0Rua2ecHvYc0AzzttdUqcejMHPkDGlQr8knNMcx4bG4fKdwG7PR4SXXJDqn4b4jAVWO2ih0E8obXiOhZuFfquxC3ALgz5M39qXFmudv6KpPF7kWGsHLN5FXxC66lGl+y4soUOsmEqj5vsfFDQ9bO49tip+N9jWWBtufW6jIsRPqtbuYj27IEKmiT9uAMh3p990Pv6fY/AFfA64U61PWdIF7IK2qLtfbjWVO8rwdF8LQCGuo7WHEBnOUiX0EnspjWDw6w2woPMAZBIbaMaUViwrt7vdaWMeTxhtpOzsr9AZftEoTHYHr0y0rGy4B3nyZg2nF7j7gQQpewYDGOLcIC9oUhk7IRsPBLhg7em1tRkFvQfzJlmrjqbkSr0vbgjxxqnNWlWMih9qaktNQPWy8J3LD4tX5Gn/X01g/1JCk4DGdzoWUfoAUl0VfQM/B8R1bce6iLQgJdZi0UWingGxxTewKhvZyVBVFmtQsyeqU24VqLXFbP3u8TDHRfRHhiI1Y6eunWrqM1q/uGLAoyJ2SW/s5ZMPq9gxq/ze/fp2o+oXaeQnIaAWokgUNJIJIDQchkQ7mrw+agvT8yXn6dvITTk/fjoZvTq0CVtpI4biJHsr61Jf9FYQZFPZcnLA+59wWv2fLjrzMJciA2si7xL/gEm7321ati8DQxj/BiPU26GL+JR5vnW4bgILvMlWg9VHi3i9bot1hNCmTAP+ejCCcVSi3BIHBPSUD4XZ0fOpIR2PxNwEriUBgzgNMQkxBvw2kzUewT41kKG7y0QF7rnjM3gbILpGkWKMbI00FalsHq5zFUHwXqm4Fp0DNSTkP6Y5NKlgpMy8BjAQpW/yhHo0gCDKQuTyUEPBXE54jQDMWcOk9TimTDL4uq8UW+ChegtZr06eHIWpfI/j8DKVKqFClZgXZy71I0tsM5vDPy6fuc/wFxjjW3e8q082MOtfZt/8QUfsx7kyjCuNVEe0sAUg1Lc83w00pAvKsjofy6hP4DVCl63oYNFN5YxCu0MleHZG4EDszaL4EeWcm1VHqaWlZAMacVVNbbYbs2HN0XHk2snuEL3clr6Oy6hmLePDictP1bYf32x+TPEtHfaS5a3+OjaiM3XI7uC0gKyqjN1tH0A6EAYSzXCCqMIET63c71+PivANlFu0dzD0m9GOSU4Z05Cs2OlRsrN124MMOeUsS6rHfVeNInLG55TdHJ4blX1iUoIMCdBQsn/zIH9EJBw10evMOTLE9/zJOvXe3vT56821jSZ8WrwW3d6imrT/CRT+HffG+MHKCgwqSpyWnUJZ00+2MH36qKQouibyjVPzZNTB4hrxBhS1MIBhM1ULIHZSoO1YW7JtJ6HvbAioO9zmEhfgf0x0SJ1n2zQDPCPKV4wzhekIY0So5eavYXqdTf0uMNh7vM5myNFOxcV1ogQt2p4RlpGDuiNlQbVppsX4pe1SDdmA84TCN7FgZ8oAcSkE8P5Qrt1BBEl+QDi7Ailz3C2m0NIRfq55Vx5Wyv7BLHUXW9xI84IIKIHzjSa2E7P7UotMfju+BjFUPQsmbssl1pT1gsLZ8/Y9JodWUmJioBg0gp2fXCy3ovigxslTHrWct3Bj2cYIPiG8lenj2T3Z33ZzxchAUcmBT/8EoL6HzoNDZ4Sg9XRb7FJBjnIb4ur7eoLv+iDTZfFRvHYkFo57UzysYVez6jQ+dQZQxP5xFZfwv8jDvYaz/gDTQqhCHzy9OFeKs80/pWJbtNtxP5W3rouk08xlTT7FuXK8D3V0W8OwTV/sbJV1vR66Wj1RlVl4nLFWq9udgOc0GxPSsx86X8oM/OiBjyt1lOMbHkGnaxj4+NTaKE1poxsr5zyLFjCPnTt+hd/EOXRYhB8lQUvrFairV8g/31UkmZHya3JflkVDSpUPOGdfPoUATxM5JTGU1A29rly3k8OVa4z9ju9OqL1iXxdcfF3thlodG4/D3Ex4P1FGJWTURyv74FSITkoy7ZhJFLpWS/m/y/7N26OOtEmTk6qyutMe4drIoS/fyqvl8HusegSCVm5abxMdkMkETy2h3fjsLrZQV9L45ynefHkkYbUqShaydVIXOTgcdv8BO6qqwenTnT9m0ECxYznYhEWCDYMTtPbTRFh+nD8aqh6jrTmVsZoOf9gckTyPtFs/quyrOx28ZN2v6tyBsybU2HaaPHbXa7K/NOke9e6HRmsrIIel3wLLshmRWZYfxeCf8w2kmnPIgp6PYMxx2cMsA7ro2LtAG536mP9plEJP9bjmoQpfu8O1Yl26G2eWx5BOa92FLWFitXTZkULcZvUC9qjC4o4eLLP7gVVKeG+z2NIrVddSMrv78HOoYUccHPl492wBF5vnPuZr/kh0QFdIurL2nkMuaIDbYVCOuP/dogT1bN2Y3LZciKjzpSLcK/wpzAHMkvSuIo40ndbM0vbp/v8QJ6vVgViff2uJkFFxO2kKYA2Bcsgd01vQvtw7aSE7HLNC3d4cL5YSbt+sxIx8LsE8T6bk1IOOFbH7Lv76qJzHVXWyd86ncmkIRfczyynLvTYIkCjnn4CPcnefpZcs57BH9St/bKpkOAnh224XLUIijl13wnv4EBw0kfY+wJfUZxVDQnt91rShkYP5BkWLcmm7TaldZDZocxPUN09r+yxJGk49gnvdSEbVd+rJCDREFHp1UND8Ta2+6FrRpdAghEEz21bwiG+bWi9SrJSwvozDU82hyqHCH/+RhlrkF3fzzz0epDQesecT/gHCXXC4OW6QyHfFf/m7sL92Gnt6c+e3pFmNbDYJ+9iGMfUMN3YkJFuHh5Zu0qVK0HWIG8/afwwhCbGeq35yj5SrdGrNuBBllfTL+hIgqzf7BddfQsYFZgI2zRWQ445Xy57SVnGSbu19Tc1ZuLs8+eLTLrofE3OKc66CHvm86R8aA1UrjeSKTPOjmnPElj/kz4mFQSMxs6RWVd8RX9TtIncmewtbxiOo9e99tj66vEN7AVQpy7+OXKU7rhkdoxzHwFSWH0RbGRsiYGwnMnmIm3zCH2PJoHpNskSj+1bfWl7LESUEKEqg659pZ8rwfC5CpXCXi/IfghoPtF/INsXDRlhiYgzJTRkojM6Ik4p7ZXdSSXHsiY3a/3h43UV8M8A5aiqZVtsVd6ddXjCxC+pYAA2CrD9aMsgmy0OO2em5tqxjeHtw9E8J4LvD6XteFwFve+ZPOuM3Bcaq96rPUkOjKjP8xrlf7VqNdyQ1sBpjHXxpHY9uIxsuHxgTgPsKaNoLYynnQFBuwXCkJdKMFvs48am8PTF6673/tWVar1YgFUE8NuhCu9qIFXbf6nB+y2uti93O+YNs/15PL/uzIkcGhNZYKsJLo1CD0iYl3iz6YfagqSAfM6W/297gcGLAsRt0GWkDrd49ypL3E5kokE+tbSwbSraJ3Qijb3KsuFnUxxIzRyKpmZCFJgmPB1apwe3fwC2tEeLUxDMO96jskc9cHIEkw7oE41E94jVRlAFJaZkOff9itaxgWuEcbVi0BkiEyytbwwo+WCr07NB3Vz+DJ/xMPtnjijfLwneXtfdf/KA8a7Th09PPpvo5QpaBe2GASXDix+D56neH/qIzIh/Q3zOpSdbF1N/Oo1gZ9X3ntmi1fkz6fAcQQ+Mox29BO4YCrhegw3QaCBy88eIS1aC2JZQ8oZ8z39jIEjkho/10C6Rp75dfp+H/NtcohYAfKCquwhsmAJL+SF74JEM45wFyaNA4WMVthgTswVjBdEjnYeKzgG7Ebcq7q1oOsbUcX16sQYMFmuiWFK0dP56/ruPoxdAR4n5o3mt+qJyjpEJxbIaMcpyfOuuiQXl8ICU9luv3zf7W3k8IybBuSKqxsgPQ09AX6IHrdJkmcZ1K/1Dbpf1lz4XSDwY1hloC+obah6TRo6C30Ka+DWWeal5c/44MJdFacliL+gWR1a8Bx4pXXnUPvKPGk5QPtCM51/4dHuNZr9LTc7vXgXbzljCUtyxEInBeOVfCei6tzhcGhJuYLSUFmD9Vj3Ah45IUekq/C+Ny6FY0I3RsLxPYMIHOjnb1kC8Q780F+5X89RMBdzknLVAmsTLYEn43TfX4ldRcsUM7CfZpZfJ8nIbx8QXhGXZg4EGyNsI5W0p1Luypg2T+AZzQylECbgUo+x2ASeVaiGPYsKBZAfU3gLa1k12nkvgC3MLeLtdww/w7B2YozYO9bl6Ll3sS63OQJP+kvVqlqcZbgaUA+wf+R5kBCvL3+4to4tHwETCUMkytcY5BIA7tDJ6aLGpJgiHzXagiUW0oj9HAs1BM/NxFpHmWMRQq4F7F7I8KJTB3sHZ1jYS618DhWXN+5uBDvTYNI9bsNaWUnR0BUC3Ewbh1DnT6Sjovoj3xqEkYyXx4fEpndblq074RoY3NW+elmSr8qdo2wq7sfb731lXFs4aeI7Xy3j7IkzB9TiAKBL9UgkbOCC1I8wCgkHB1FblwuLBgw7NjYtt/63s4T70hwbRByD68tETGjD9kjSlKoQcNC++AHAz2sp8Q8I5gKrfF8J1LSJUgL2wXnUp0Ynw14vnC+R0zgGPvC/P/+p4Jnp+OA8UgcvfjRS6TMb9te08WX2VHUkUgr2/p6LMB0wXBHkjS+UFeXh03RLvvoLXfEk6mLelehUzEcN7ijmgsIzWedNi+PoUgKQeF5qLe6Cfg4B0en2FhfpHGVwCNPgovKYG/dGMTm6GMhcjxxahZ5BhXnC9/QVAiOvKujExM6Av694RPXTASlhqgCNNRYEmM9UzV3b2nEHu1+JQTRGkiDE6l3nckptZHDoiDojWqFY5olTd77OdWE6HQARk4dL70fEcom54OJXedy5yUs8pycAAhS3UiKnLkmdVV6WOEunaXFc5TPZTA2YFs3keNEb6ZDRR6Rcv8SqedMcsEyipXp5VKm099PFSiBzvYjogshCsZEe69rziPh9/8xsw1eRC3P3G3mTLPLBFsLomflVkdNTG8V/omlGy38w7w/UDqjcx7O/hUgZz2VSotgR/qFzkRCBrJoSisHWXkpqxfPWdnNVQLbriqrO5eDB9DL7XVNHL+yAeoubVSFOlxJeCxX3fxU0hgeDnpUvcfP+29ZLEDqP4KM6DhD/rf/kbDrEskFhfbx0QpBYFaRHli81bwohvxCkmQkwjWtzPHMx+pcLX3Ca2Zfn5aduPF15ThR8yrbUkgplyUtPFGChcCUYUXTaPoM0yLb6MwetMyJisYIf/y5UwbbjhQ+WKgy5pvHermadjVgBFC5PoPTvi/rdaBBvbjA4CiuwEImsW/tIj1jp5htoZTefkmy1eL7LDGIEje4iAmzJkTQ1upghSIq7w0yOU4EQ7gRc6o7XRpkKU9FilImkGGWPsCzAs3Njt/UTRUH47TuymNTtDlexkqw0IPe6Yi0/d7q7CPK/rM20egSCdOoAD5tKNJuBcFSB8vp8VbAs2gfGiff6pce0imttfDTUi2vae2M8QbfCFBZ97vufhYaN3aPM7sF70SHnKsb/9HCHXfO7eM70WxCPXjf0p2rdCV6PZb+QV5KZT+9wiNOy9CJmcxYxGegyDpgmxcVZLjjfT536vlig8D1GmWNwmbFz3bWNoiB9H+//8eOmwZlywchMDY8IbZgY2Gf4c4BZX5jJNKB9wcJg/O7/+Skt9CL5u9ZahCI1x1XcH7F2UhZezCF7fChf0BYtQ1CKttargbr2mkAHpww4icNAcDu0K/ChIU3CA4KdOvTksc/xB6MkHNJr8zviA7YjJSbT7xiyz7/ONr8NASlP9hn3NxMJ3g/p4oI+kbYKpL4Ucdbu8dsTNmsy3loJGkR7pZITituS6yHqit7JIKGeXJ7rcNvyYDoRoNGBQyisi1zu54Zkq2qf7ETtO3S2MQeSYuZoM3OIcUl/lnqw/CmKTcBLX5AQhOE9xYNLUZ2HiGY4Jd6n1KH1xhtwWozxTe9hbcM9WHrxXEVf9SXLkT7hQmaFskgPIlHagUWYjQ17Bl8JO76bLjbrwXZ+GqgOzWlkAS8meoBmp8/f59EoNLVLDOnD5ZirQ328AGXY0EdOiZxJlbPsfXd890lN9gPsqpYoRy3Bytuesjw8uaisqWQ+qbAANXhma8+TT63tvy2OY4GFPGgX5J6bxg5fgAO6qeYvJxicy4jAw0QWvjMoXwhXwcUezyAqOrf02taGYQlDBzD0BRbdLvjc3OGsJdltkTqxDmtChn0g+f6o7vKT/TRWhhLZPU2bPkS1RX+gguwkf+oN+8fk+J+9txiym6LvoJf2tNB5pp8JKic6AYHgWYtWcYIQzN8+d7gAO9Tg9mIOnupu1EdxlT7JgZXpcz5LEhGd4bd546klk7oSdydotpj5thcpRNZ0/VGFBRIWmBaVm3pAWTlxiO8osEtAcMzHTei7XU2Fa5NpkCWv/tCKTECIPPIqxtReLogMyhb3gm6OSU3rZARnN1NNE4wmWO2A87sFpgX06cD95mLAP1FKvhFrmk6OaaCbOtQlPeKY7ozCBRIvRXmK4tktrnwH2QVZGakmBacV+WKAeyZJzgLDzmIAZegziXItOMuGSchkXnr59fC5RUl1EIdrbh8X4jV6m5/Q6wIweM2RrnRuhgksF0guEpoBjbli+crB9nOib900ml7ote+e8kJ2ngakmqb3cypGJU/YUIQglD3OsRl2XptoSq0av2u6rROF4CW2hrsEKzJ5kXhj3bRDPnI5hDGlaCZEflHq0FkOwwJzGdph5A1dYrPMyjgMcCmtcPyTv7pgJDLigYHWluoifsSdXdxJmY/8Ylrfj9V47469Uew3S/NXiKy58iFo/2QOQrKN2PbEib/9NwJC8gFImh9I60j2QHTO2xfFFI9mis9CMwQbOuxw2r+7KETlVlYszTp7ZnHxKhnZHLXbWHcKnOoc37vwY3GNY0+KUBBxgdydTbMp80NP4dfHiqOufJ0gPJsHdfGDy9CzjzxJmPlbOJVA39Ifj4eM55Uy9mkCvC8iZu+GzWOxiKA1OwU5dMDtUPgQ7/zCkpo8xqhBlzKHo+eqdbyYtSpbJiRJJ+l2EjoYUzBfbV8QWdzVawzrpVdprxC/XZRzNKiKLwNZjs1j8idY5Ial3z5LpW/T0Htgh0SQIfknsLJWsURSyiXRo16J3y70ONO/vr0jm75zhohHeDGPA4lRYsOUb2xdkTXKfx2ak3/p7cE/1pRgElWVHyOFd5LJZxIXGEYWkp/VPIZ5Bh++tSEQXfsndpNqN5tZHn9d/agHc8aI+scG9umy2xHEhP9RyjXeT42XDqVYmcO4c3ztopItOvxL5LcQG8Y985pkBzFgg6t+Zpv/RYzzUoaGLTZUutZ7KyX3q/5UvByuG/v8yL1MXl1HJEBCRmhp4vyTdjSdyJvRb/Zr454tlLIVavrDWdk5uesIwehk+Ts4CFsC4bjVj1tz1QUy+8exwu7YM5+rAurtOD7XyDok1+LPpjZH85E4zDNNrmDOrLFiyhGbrHf5fe8aASijIIcRWOoP03+DRoBxxWnu04zYOorhcL+baTo1zmv7PMMqYpVRIuRokKOVVSlcuDH84Ye1RNNtPB522Y0o+m00RBU354f4t2UN8sarXC1+0n/xMvSAzzBRJI7LBAvbXF1Fqii7QNvcPn6ghLVLqz6/p6oV8JidwOs5x8yu6IwJVc+NV/rer0xG58iloqacDxU+K3eD6MNrMQDY/2nY/xJmKDhXWrwiZOeckD9h5/BAlt45/PH2Aq1P1TxugZq06kHJKjB3lfqJ7chn4ZTm47F5JYbGYwdJw8YzC/URgvPHOJmhc17lP43GLQVXozbvpzAOdcqENuOfNFHLVBGbuwWK7eIVgrJyIRKAcpg5c2GtrkhV55iuMlRfAE7V4cJaWDEL7CGccsznF/gx8c+OKVB8sGCHLNJWHaL4y/K8Y9dmGY0fx+q3j8HtgrFsw6SVstlZyFu8/6JBV1LBfEjTMtYNoQawkLCHtX5MCFGunKx0I8H2QBaKIeR3ZO2vrIl1cicgTe9YknKbtvaoFRjHUu5cfaa0J76VCqJ6vzDy64eg33TLAIdFEdseHPsvAduh5g6Dk3sMatQWbd+HrgXz1nN6BlemIxhgmizJ6JglR+2e5ia6Vqvvl8jTl2YqUcUl/MEzqOh3PBk2JB2sK7SY83qL0rWiFtDv2iChEptJBKtyghAh9FfTARzGcCyOsq3EWRbled7ahTNWd/KjgNqSD8lIQal+FsDxgopUD9QSbFqzmUTA4AQubJ+xT0+X73tHUEKtOnyQfvGq3AC+gQybUImS52FGSmBXLQg34aqwB7HI1M203wFYOeXEFFf3H1LbXUZZ5oUl9PdnqX7y5WwDGBjLflrF+7FrDtYDUFKzyc29Dk4BcDk5lIioW7AWMvqrfFU81YwWXAj/07jg1vEGaCQiwiFtwsNSqzZDI4IDGibHCMHhlfM5pLbPQxSJP810fJaiItBs4EcyvFS6athXLXB6hazDsTIn2qhfOxlEe0CbKTztirNXqlpeT/qO1QqKNPNbnBZ9Dms3cKJalcwIb1/xaBEl7iEECEL1yrl+sJGCdW/64rueQa+KSH9rF1DkEwcDZVu6mUZR7V6DJtF/8vpUJ22QdhtW5M4lxKmb99llI5f6o3T0JqWVb4w4oB5vMYEn7gsI8WJWCcKiapN+NRkpcv1VUW2mtXhIrKKnXpKs+iuY4wThPwS5tG3ocMwL/fIWOxLPlx8jXnfDQ9vbNWdgw5zT1wdqxUUGsinTmRfOWLmOShvGaZBYf001AAu6bNyyaGzPC2e4qC8dJ7I5En++fDkWfwZvZ5YbPTVyg/LqbkD2UKifRGQDqpIgZ4Yyk5F7Xqlx0E03iF8LRxmOlHq59p9g5T28sC4MS9p5v7kuXlxaSeoNtrU1hMzWtNYIesr9elZuro52wGHmmpHrj2/hDhpg9v9ULrMXOD3oNK2/MdUOGZuFz9dPvEVXhVRZMiGXyFhtzKitEOFnjbLS6YldfoHPUoKXuMcn7eontkBfz9BbsTe0Tqfx9qp21P212oDwpr/yn2lLe5oITty6XHHu0ygaRxI3db0A+cgBzCeZg4PdrI0woJQ1+PK5RM/EC/6raukR3JxZGHMKPvGMjKe6UKlFmw7lsbDF01KKXL0udVdnrENq5eAyPLb1GInbNybhJ7jWRKy3elB4+ZFIhaQaNUR5mk0MhJXOsqTp5CYl+wZgPLEU1zK0M0vNo2xtBFh5ZNmSJOi+kJKVcHdsaAnBpMYYGSPF1WYj/jrtc83QvZ6RLq/qjzTBv1c8jLV48YaZC38L0uGeFgvna5I2sgQuyTlSDXwnWVOCc0zOwnomTxV1mmGwKTzAB1WBUTzYHGorbNzssjWRZ+eg8CmYGooWJlBWkzsLuJFhA6OnLt+AZO86QSvuesx8m0fGryFZn5vOcSreGURXyzGN3zbY7dGTjjmNO6ZXdRvwaDoJWXlwWpdwBQKppXqqcLIcriX9TCwH6Y44vE3JA7/+GShEVaZDk2K6rQ2SHvT1uUO8bwje0xJnwj0OfvZ4EzYtN9y6BuTmdi7QvfCpxkl6SHz3d4rakjn4njLOkuwNwSN2xdnkGBiqvEpZ2wJTRSxzhbd8EX67TQJPJbQAY5H6j8cOjSim8h+pKNEO6NMULXP0cNhLDCTTEWCYji0+K8MqaRur9ceCYbuWYw6fgxnh3TP1aSOSoIqUEGxWSwOwEdx/vR/OvdcuNF3RkpsA/upb30cJXT306QaFK4yCQwQW7Km1cst5ipJ2nhQwfmMHW3xAIXkRvBuFIRkqaHLh5srVNDAgS9EXVfrR3twiLag41bHde/x7UBuw1wfbFfV+gi6//43mG7/5JzvvKH5B1xuovSgZbFTte4fbIlJFT7L64zCwVDvZx2ThCxB19eb34n8jVIyq1Jp9lCxjDqFx5d2guRocwhHAJP3IMTCpPbi+UYtBYTqRnqu+0Amcy54jQYJJGdsGFnWtoQkBWIVzTcZR6mKCFo0sg9GLj3qKlWWl4NuVgFMDuSjOih84y0rDFSDwffTRnhnH7mvrCYHZuiJoKgQy/Gk/BJFBgCdcMLQDGqiNnLZBI88jswmtbre8SwkB2ZHMjmhGjVXaU7mD9uBGoX1FlksVvi9wlVgmuepf+17LU6Kp59D0vj5JdZSOrS0ieTktz6UTqflt5PJoVORRzpVpsJ7tI1mgWBcXNRf+ZoDOXcCGJMX7iiueCyOhprorJ4XGcma5CVRXCTtQlS/qN7u647izGtR5fWvcYWiNeyVRA5CqMm8D43NJaKz7QNZ61pBvQ/l30vpkxRMIKS8TUWqQg++Ih46/qGxSPWGCKxSsIkZmAE/dVVwLK18SF/NiR6yXNlFx+WMmZ9dJT6a2KtPkAUMKRyChGfdl/M5d2e1C3aDzrMS0eakGodaeeGYA/gAUN82WEWoFmjCwXciCIr9q48DE7bpJNOuB8VkPkoXnYwtR3iQwSHLzXoq3agz49VoCVvyp5OBRFKAmAXk2KWhHLYTGUIdoPA7ltXh7ZFQCKpRZAyMjSCohkpGMQVqVEOo9nEP+2wfqHEwRImTrV3av57HfbAej0K0Gn9hwov94/9vaqSSKmwhG3JEkOM7lP7OIJV9OY2SiKOcVv05CZne2oTX4ahdrIFdvMTKG9EpSaPS1OzuEvy1Wv4vlrbqgDxRx1sbOStLja2GUfBQlaqXbLlUdSyY7OmTlfO5xJNQIroGpj6YImPWltIlpnhtMvQFGl6/CzN9/Gh6zc65udrpzZMhQUmeafc39QxmmNUs7BH+tyt1ypZ5dtXNlBVSs0jSq9TLhs4JlT2Y3Cu00F+8RD2F5ZCGqerjTORhhVybMjwO4UBLiD2QFwlRQBPKDF4gu6w9hBRpPVIlpUzkr8/JPxVoJfGrvKgFsRXIzcglt+X9Uw3RGT1aZHqPuTwMje7AmQ/d7wPdry2ol2jJNn+QJNfDUdJcWbVRSTKk+ZTCCIg+wMeOkNXQwCyixjd95hgCae/r9/XIQJiAJHzMJmeOVfekwCuf1espVnjddBugeuEQp4EAiwdHB9UxONOwDcgqmBWlHBHpLHgwuw70wTGPyS8bvZGXY9i3y25danFISoaPBWC9eaeGntK4QrjadVcy1fxW9YzwVaETAxWQ9kBhLrt0KALNK984I4oihvLvqRrR2Um/MtPtnjpmXrldrYsAQSg7ROU0yHJ7dGh6XOMiciGbaJ6xakEWa4V9SaZZwyslb1y28fXJhw4+i4bxHYLVnD6+1QSZnUWJLktQfm4nSrCQFiJFTm1ugbhJb8ry3VhXCoTN81FxgWN+ij1ynHn7D5QEmLTZqUYDlZApfqrE5LExiLWCJ0FxHdn9lHT0JBeLvlMa9xzgi41yIN4pcAT9sal0GVUS05ecowG7iAabLp07NdmAHksI4pbAGDKsTZLMKcSgEN+tKt88mlAGXdoBgi78K+RtGKepn++mx2hD+3zfiQxgjMhLawvJnU/92NBbukt8RoBo73iNQv/9GUb2ITBalLG0PnHP8IX3mrDedO1Mm7SgkfPk4ObQgSFImUnG0safReOTLXLoKt+Qx+uXVurT//OzgAc711CjBTB87HASTeNCL9ySngPpdKoT5t4/CPI/Yr8ichgD4HgHExwkJ9BroF8k5BXM3QZ3DX9SdhpBdoNFOBFr5cqIhi2rbajdiIpMc0lvn5m4z9TWNEs5f2PgvJ0Ac561xp6jrPEHPCIiewyf4/a/XbOYHXL9PEriNqcy9N8Phmk0C4MJ8PoUbIkZufcH00btcynS2Hi9/OtMOPA3EJRwZIUeSb4aWMjd8dkP8vKZ65mKI7FBUk0lx1bs23h/fmjH3pIxlQjqEm+B6+jgiY5K3awk81rcZsU0+c0hYvC1p0JlJGgHyOCoyQ3b2Ywd7JTN7x/f7d2X6RXIl9FmoTQtgUJxbjc7cgGK8L0OLOztNlc60WdAum/ZQIY6EmmORzzOgTktjJjOlfxrIIlCYJqZy0BMZTXYO6oVBKAcI8kqv3In7JNv7NIZMdh2v1r/urCRLdX9fGAud/16Vb3f873KqtSk/waEF5NvSV0L4tjUmbFf20iCZEyoIJVsSB5d3WiYNOPF1PikfxfVYx9v8X6/C09Cur4CKustD/MHMCZgwjB1kfJatrQEL0+6ILnaYUptxCe5xmcG+IVdorhDCb5y5mmdZQ5ShPWbAbBSHssCBWrTZEeYx9E8/Ulz5Cj67fGL1z9h/3bienHwuTz8iTEepWCJq67RxympOoCOes4vbxIdAqKbxOmO09KMu+BRxWlIH0P5oW96x99xsdIPlrGDfHJ6A6Xc3Gk/1YRbhlUpBrS/Z/Ev6s1cRiDl/byAc32LpV4ozmWrsdqchQHxyVVhOzW5UgVN6d17pauOLQF3tP9AaeFIbATadFCDOGHxDdpqJFyt9GsFcssIBS1G7YctAac2zTfIFtfFxKlzjP7XZoUgOD0wYFhVsO9rJoP/zwzesJQZWc/UuS4KLjv445j/sKhO0FYp3cjTIwDuzB65Q8ZTDqxyGOTgpIHfdxWTq1vUbtycZgVefc8gmxXzHmhQoAIG7yiiedrtlXamqQKMNNbDKXUV5977y0lcK4bVnwzEqBoobN+W+k5F6SO9unNCO3T5iVp8Mu83iBSng3EaF+ZY9zoWp0WwVhTuxlN6NcaL6mK/npYtAL254TCO/g3uH2GzQjf0tJfrddrtpsRlH0YVWvoIM481/jREHC3sX70Q7Su6PUQ/oSRsdK9I+H4jIsoVPMaJ4eMTdAycKWxWEq9S/dkGd0kIG2ZvfUJU87p3W5/IltKzU4k0/kTjcds7gWvW96xJzhr/NSPe+XFAGTsrh89XwlSUYqzYECLGdyMec0L+t8F3vYKuGCkVWhOUrHqr84eA/A50ED8P+LGl3L28KmXHx0RpuPlLlAYC4z5fIe63IuOuUlr4nI/RgeJBhnmy7JMVpbzHdTXsiucTYL526RQF1CGa9aLZhBv+GkEalHEnnIyLUEzrwBdWy2gVNcysHKVaGNWSLhTtwYrv+x26CIUDO9hC9c3JIoqsFJA3bpAy4YfGt3qxLNKyt0Jv8QQ2k+DX0ocR2hf3rR0e2QjAJvXo1K/1ttXu9VChQ3Y7QC5jO0pmWK+LE35Gvqj5mTMrU6+XE0izj66VA7oHCM8YXYokX8KX4o6TDWAMHCAPDlkcAELNcROfYeyPivMCv1qIOAbZf8bztEPxQBeI4iqpjtSyd887gUqn1LhB49e++ZPB5jyD4Q4Fe/A0jciUHpjLIdXIPKUvQIyxso2eijaIZskpWE6qKIQplN3k7FzlR7cYrVpyJNBBfSAJO6vV0D93EoCTcGEiS4rXQBG0Wa2QoR9ia9F8ZnP8zXVNaf99kBMwzkvLD2Mms2cE6QBoLwfLppdDuAmcGBSL6SPbqF6JLd1vguoAdQADnTWi7CGBpJIBFYkBVC9F1j2hjBVDnJpDhlkuAKBMU0sgVMAeThES17sUJLOE4L7gYiNUo4bFn8mGiH3FDWyznRz0XgNL5t9I85x33FmjkNkvczaPTyIpOOjPGuEKIEIOabJtrxo5YAfbJMdLcoVkT9DPB5Sgd+vQbSf9kcCtZwvCS44lCEByrM/PUbYntGYoE8vFEGpVhAPw0vrO3QMuWV64GjZIrHvKM+EIP9T2Z0I1bH9eL5VGaJKxmDLQB88o51W/oiOvE2isk74slg+E5BQVcJ5Sum0yDjDh7NoEBZHJakSCYyTploVvegM9r6lFueDuqcKpQh1pNqRN9D06TFMvMPlEgN1QhDJaWkqVlVMcL8xnTZxHbKipkOYuBRIRr/JW9DYmxnzNDHfdvvNbs3znuWeDkeJx4Lhj6oaJovVH2ylimZPn9Jl/JA8X4yUgBD57x73Q+RZXGH6B+xuriQix4xvcuZ5vzSAcSSV9ldIhfXRrluIq66yQMwEJfeMba5KWyY6VHmHQ/zMMoiQ+TWZBTkNXeheW/ikRHn/Lq31eW85EHa2MStj39ePNNIv8v4p9L+bv9VFRf7ueZlFnLmaCU0bwIPoXZhnCqWyDdRK5luOGeResOhEG/TdxfkGutMKG+FBDq0N46aNKkvZJGyeKu4w7uG8MRXsDMuB7SCCPtuYH1DNfFBgbzqVQUnqewl9wetROCjSbC46/8wY/xs7NxrDTAXue88l3QnPUeiKPti/V86YQAVOBQpO+2ZxGCNzMmD0hlUjCkkdD6iHb5tQknRDeBjWv8keoUBktaSesdENifHrlSbQH0snP/P7kdiK0oD59I3ulooQPxszuqnhriltMVLRUzwVAo33QqnRVa2cul6NQ6tF0lw9e6Om5Rwjp5rJ7QSO7Wj3lNFVukrhrpzkLJeRjJPZ4RaB52+rxqiO7SYFHQzWXpU7As+47bAY44mHTPQhVTU3iEsCrVEdxIxIseP63vsEaU5u6mrNBUtEI5ZzZaN9jz/lYjohhwo8ZIA3fpxl1TtlHIFkUviBKJuf73z/Q1NVRLq7W0NkvXGKb+JBsdNXI0fvyCMKWNFwkdz/SdJj3lE4rULX5d0mKK1/VmUo2hErtWqvdhTjpAAJAsF7xMm4kuuTWH4fKNenL8mAyD18fr4GDBt4RG4xZCwWtjw1m9DE7taQu6+HN3kcH6sM9BS87U75iMM6la/HLEK4kzV8pLDsGD0Kjt0rCky+5YEO4/4iQElgg5O5UsqzpPAr137u/K1BbbveAQwtiXc0aHAK7fKP1NhL5bQkrav1US69PfXXWoat9KBQcTQkQ+apc20c3UqmVoK+7cJc/fiCq7HkG4UZnEuvJR3EENQ2vgIUDgXyqqhEVHApc9A+DYX6xKRaSilOLNLLl8IOdXQnaX4RDG7tkiWrj5Wm0tWLAa9K+MK4zIS5RRMELZnB/i2kv9jybwLr5yciIgEdJnHJbskegB++L3wLVDJXfk3SrQUwfYGe5tXNpzgTPjD7hlDamlLDMCN07HfPEiykhHkL36VlQfbPYpUPmBY8Ty9kNjmEPjT7ruDLFgRopB6sPOwtKJvQiyd7cSgDiG4dgKT1tztzGw1rQbNNNgi6YHR1hFHdKyte38NiuxTHNwuy6nH0IPO2P/9BP2AOotR8DqdHGILhbl518+S6gaIKYOj7uo6DFRJD6+HwOYPPqVNdU1dUIxupEu8J2w1tmDi0GxLIpMa28rxLPjc5nDQFzAQ0D7u6R02Pdtd+919LGxknaiRDrFjMZ+E3RvN+ynCijYgQMlRHCftEE4Xr4dj37puDvYodqUiZWeMyJnNdeJE54UgtxtRTt8w89JK1tClX/9RCntuJ5ua5K+TSSoPzW7FXqaRGkyfm4ZPmM6NzJfkCDenkgKBodzj5GRp/TSOHaxE9oOORoRjU2KMnq76njGsgLv7MtI3J4xftTJa5vdsapYOHJngmqWBL9qGNCzh7WP41Q+YRjLvfAwFmCfDkEbL3el/ouLPDTxQ943dA6qJWKQNxufl2ZxllASJ4081CKLeHMquUPgjoS2ePjk7p4tFgRNjOcAhEyvg59yp7ssYC8AadP+YRFQRDF0AhsC0UDErHRTvDq9TOFrZ7tqQdexbF0RLzd6u+TgeIF26kGftIEbzPzlN+kstmubJmM8FRP9nCKG6TXpwU67chl3zy0EraLpIBcmDwppQJ2ow3N5CdI5AB0/O20LU+YiVtJ5m4llMbj1ZmDCHtDJm+OJxktWHfAVVSO70ePUHVcM7NYFA+wb52zVu0VomLgaVzR6PyqZ2d2rhrX6hLshWaFVZzqfgCsQ50Ef1bK7VpcK2tsKJy9jTQqE4oEyQQ2vDq8inUrooGu84ewnwNos4aOdis0FAuHCjocNaQw3MMVfEniDwmB5pB6wKIqwH2NW57i6WfUBiFyz9Get9U4IITvfbhGO2pP7bkzujpdDIZlcje+kv9Df9s1epvibALlsLVP4BHIN4+MyTZhpMaZbtvVgNvmydmvsURdEY+gLUetDQMGfQQWGFr0Ov5ktrNZn4XMLpTbjbM3KkxX0QXz5KsJj3Oc9pnOvqs9P6F0Oj4X+G3/PPqgmmt+bbkSEJQU6dbO/we8hl0tsBiZSvkzfpQ2TGF82n5EP5Apz4OGX/BG4YeINoiXa72rY3vobxGP5qi9BVBsK04Uvs+GSoMj2FTnrBFLav+MwR6VzAmPA67x59IjbnPX/Xqv4Mnk0QkvczK9Cg/Bjh1JCGIejOlWYmwy2cw5TSxyaOQCOSqKpaRpT6MxyWOL2QlgirxFzLVYf6qrysGNC90iQclyITbgJIx3uyFS82Y3MO05XrOaJkh0cIvso3DMD0aVNiSIZ9PZJl61IEx/yEvZkv9MoQIBl6FO5/3c1EMhMBvjpAZvqmirM6BxT0GbPE9oVscP4r1Ufzg4Naiz0pdsAM195vS/Mhf8e2QofsPDYdZ7dn3qRCupn1CCwxyRmfFWN1CTKQpsHg32T5Uw4kB7un8eEyfDIGB9/U9bup6uTLaO/So2517QBKvC3ybsB9DiqUAUYQPK9OYK7PR4dF37B6invMPVH7ra+nTXQVd5HTzTfsRLvllS6LmWwXk7cBIIbFJcRgbS1TydWqcXeFuTlOLmFSGoqF616fkmp28o8YgzSN5QGlQRsp6BLkol0x0gdQJ64mBLtpqsPNeiPs+pbVwMVhPfsf/JFy9v0CSa/FRmCgiLX1ntyIfIJCEIaY2Gvu0TFEFzhl1RHvN+iMmI5kZkCY4ARyZ0D/EzoGwopOa0J6EK6ZtaD7gRhIMZTA1fdEHV44xctRPNjQsXPj5m0uRODyn1wnH7AWU5Hj0DQGoVW1eG7R0M/ejtV6RQZubU2HRX2DUVMmwIefsZpyiHsUTvkh02KeI9QDoyOA1/7ThUHyAPbp26WLjyZG9F0e5T4eOD6t10OGuHo/3A46BCvQFoFnfcJWk4MKQLvrXXDgQh0km851LpUm7PtivLg9KMKTnAhvmmnIebPbNW1jlYdx166e5I2jIHGV2QeVQDEPKgJqFTczUVvv9WhZndWks3awMiBLuMrXrOTUzceBuzNpWgRAwA918D3Rh+u4Mpv6noE1P4AX/RX3pX940qDeb2IQWAlkSeOAa1Lv1f4BBjWetYu8Im7C+iZOzVg5eIAPHhDMssQ74INbUL97N3chTBlhZ4///+bXLqz9YC4RbzB3N3jzanoB94fJzJNJwamKLaegmCf/VJA7GYTjtlvyH77bNdRV2R/Fswep1y2i1Y1iQIbUdHfN1jscJ1GFG45T4VT58Wa8NRdGKyy5Wf9QvPcd6ZkaQgOwUjXhDad40A3e9FFVH5m0hg76Ai1Mz5PDgYfdQjNcPY9SF3Bjtyu5bBGSMMQpUVmKT5JQ5JibvbV6nKa0gdSLP/D26a1CHq6LAavClS2westR9ADQlQcONabbGkXoLT0dRHM/7uCOTzm/akaECQEFpU7qouk/6oigPQ8resfxvZ3oM/N4N3Qb3Wkfo5/rkIy/YRL0O5lCntDj0LrPNlL6fSeh9hO7izgC6fQPwaX3WtmpnM+dEzW0dBSiSd2NRcnlvuSalXw7JtgfH2tfav0K+YoObcV26EBAtPf15jklJFfSo+hoXe1XmNTOc+ZNcocT4FmMjDuFRDeZbEsun1NbNZJ656ZIpnL1+VGht0ojv9RN69+e27DvuoAndD3hl8TTqCeRRKjH1hITaE9ox9x2cA/RRPiUC9rngVQ05I/RjEvhc2aLp/J3Et7wlnIh2k6Nclmjk6prIwjpKuteQWo3XpB7ZBGTcq77v8+0V5kfs8cChSs/ZQYaF9CClw69QIf/dAJ2Fw8/Qg9fXw+nX/FLC+9cZWwAZrpY4sZHTc0BZEmg0WVY7vwydPx54JC5VJ28Jn5AgwX8Zcc8j57FEdiotFMSwahchQUjOPoolS9r4hHA8AzJJ3VuzHx4ZWVK+5t5rMRP1rvafwc8gFGOSBQCvSlnpe0XTS9vttkmmCq3Ig3Hwt9QVyMx9va8KUnNBiEZtu8SU1L+w3oFGQ2c6cZaz8D92qgl1zhXsRZzJZt2SJlGXeAGmdLR+1xZK2JaaznB0vcbfyecREh4eQGePjYm7h8d3BwOw/hXo1lZ/BSwn6jkaKmj/0gRTFbh213QQskR/QuhULT7twFboQUQHlLvTZqTrSUaN66hRdJreWwq+/7fwO0g4IqMw+PrXgzus6KtGg9sGkIuSVNnnY4bepIG1tssh/PruX6qyRNtPLR8c+ubPfp9HXyFJtTLCc28chUyKKF+8NoyZPcz9vQ+2DORFBUn3AQE7NJNUvyC2CSDfSJg45jwA+ZMqciZHh2okGIfRwpmfTnwQk+O3+Cd5U3p5pGrZ7Kdi5TTOeaV64OLVbE9hduyYwD05LLXFvakWZ1HVtLAzbmLpz6s2ULq7pIqNhLdDoSC2ofccfMlvTjxEqYtXR+vWbvBoLtjz0m4Xf7XerGWDbtbmot3e8KrJgLm1xN86b5th7bW0i2VFnEw0NphlmA0lsBsWbDc4hWu4dLE/hnl0k8d0EOv7NPuiP4g60JGi88965B/HHFNjWQXNDViJ6g1OX9StqquSlqp3kZCagzIMbszouEM01eP/Aqm8nXZsABbEyZVl2h2xO+wuKEo+I2yjhdwzqDBR1KLG7UN7eDE66BgPiElC91NbW0wR3RKw+NcxGBmCQmLTVUlw6KMIBU7t1iNNMq9gCJiwqsKo0nxzFqcLslhVXgCaJMJRlLYlIjOhP6XPv33ynsiERSBaIkeGcFviGay3rr7EazCERX9V+bSqQHQa4Jx+h/ceDlKoVbko4pVB54A9sra8QwTKKtBIML+d8wJsx8mKiYb6v+IS89uPAZnlvGEbVJ2OIc0dHncN6UOgoM+AIzCFNQArwENCXFRVGK8QtjbaJlT4LUO8vVgJpQWHYDhl7mNXZbhlTCfMuuMHu2+AclEyOIimIJSGTe+Ko4VkcpAcJO9YVSLkgrxzQwAXrId6MoFabhwa+vNg0Qb0/cl4lal3J/fUaLnMarISlsbwsKmuuWnkAtjYSBblC+STNuL6npNk6CDbGUb1SWGG5ZJZ+Noqvd0FyjOerRJh+MlDTD1EA/TbBJGMitjQLH1NnTSB7NAnP8M18E+cQJy/PoF2sVxa7s95MW2KHKvV93ByMQTKj87dN2XBEA9QNSkZB4bG6/1fQxax5fonC7Ad04BcOz1SAR0Azyt/GuY/f1VIIFta5Dkqst4vTi6k11zCt89G/6C6tyhBbzz5nvIAuw3/b6fabqm0iFNriOqzFVH2/4ikHgMaU8pKk3sznhjee45iWgBkeNVDCGmJLXgwWjTZh63BvAPttRcmm+Eeoc9S4LeQ3EjO7pud/Xux0Cqt62noVrl5C8C3h0XnxYYFmiX1sT88RkzCF/t474i8zfRYrXISzLK5avm3fPQD6Xc+Xy0KvBaWGWoauYJpeV7t6LpZ/nqiS+FLHoBkvcRdHqjdwUm7XDyg7NORvVIAqok3IrH5Z0e4JWEIUKPtPuaQm/a2W4sP7BYPIZUCiFrGfvdi9YmKMaTYZV+dESl9BkSq20mtXYmVEUOPWYKoM7tZo6bspr0ntxT2kEDhNIpM44wGnDjdyGBThDZaBcj9L3qQNugr2SsGj8vRI2eTe/8gQluWfb8b3PC5wbn8fmmSB+eJE5v1KBHSGk73vt5bfPUeqQakJnN6mwgTLRLoQ1NsJpKb+qsOYcwJAR9c9cHcISUpaFec+0wm85K2V7DPYkMeLKkis6ocCQkBf9Bwbi1ifJNMCGf/F8RyAkoLi5GFxTasz0XbTM8pa7fPRaiUU4E1ITTT2NoWEVsYq43dUBbDNtOFUGJSV+dgXYhpZCfWofVAZLtFzKs+ZqQBM3HAnyLKZuHXDysWICE48+zbFEEoGS8+Xhx2frm5j9luyKIUoW7ePcV6jc+iWcM4ZIHHYAIsq/9Mi2uL4kC2MkWRUzBCyil9JSIjdDuo/bA6JSYF1vt4HkvkrbpkwOT/fqf6zdWPujctprBxFvI2PfiHeaymTsQhJErwQKV3eajlZAd9fVg4AVjHZyFV0s/+1v6584kEFGYXF3rDtj2Nh5kvnyredbxqPBbCvlCHFXdcThJIHxOuvr5Z4VKBR0bDd3T1+39+gfN0AEUiLCdyzff9Se8DGoTdloWYSTfWcv4SiTb6qwA0lBtKKiGibXVwx751HUCFeaHn+DHmnHU1c8CbfxCDQI1rtcYhLo9ZG0fLnvPYV8W1//hdgOVVfPrUELxBoKqWy8is3FzctA2sbEiCKmmSx2CR/xQ6XIQnB74hd8wZanNPkG0KLqJL/4ZpBVZm40/2fN9RJQG0g+mgUdPBUnSapI1HKGJP2HnBNOmYqYJEDjllLZbmuHs2rjLHD27umNuTff0JG19lMx9TFokYmGe6Skf6vNrtAUZ6m87i9Hgg4p7VpZ9NI+1AijL5r6lb04j8i9L4yHBVIdFUKg7KoFn2UapiKdTuyxFaiI4VsqVbFRKttc3i2rNrAsg8WHEwbuKgCmzIWonUYiQrRoWovIDm+SBWIQguFIImLsjQGFyull2qBZ/Plw1CNLabqpN+Ss7VVvrbM6+TjtyxwyxMa3Xa0/5lsnmoBk70b5eFtQD734VA1+aB4SzPbL00mhwiPyzPDOzh/2cX1qxNZ+OTQUyLEA2HCCfYyljMQQ7uc+D2rmDRb/jXxGFyABu0c2cmJdSApswPOdhHkAzka5/WrfhfrS9Rq6yekRoScNg42akk3zTwwEQI+KrVf7WJtLIUFW4RSAdFyP9Pz9OMtc8KfvQ/Gqkg8NqsZIb6Wfq4Xw+nTwD8gblQBen7DWktQU3+FtcwDOU4PYSefn/vPrnuG1p6sB6MzWbUJ1dbt7Kp/XKXB6/v+x/zjqurs1aRNtBqh+4zC0WeeXv5JHJZJdyciPsqL+vhhgmSU9+vH0dD79tMJC0LDSjf/GOjhQM4DSeKhCGi8eA1EXHwAKBoO15NR8ldhKU9IeByl+e17Phr/+RyVQQa82lXoNfehLKJk5Q2V9a7SCCdGuZVVPxYPazh9zJK3Q5F35JVrSiA/MsizXgru1uDI6oc7gKxAflJ1k91moSC0OC/FJ7MlXh46hR3tvDYNZmElSPB3b5cZIdKaqdMQkNyyTwqONM0WC9ohaaQpnBnwxuhX528p7RzAPiexGGl2P63JjRlhGbVjzauP7gqAFs5kC6uIASRLz8v++xaOHgqoTk3n8X6svD0cRegrnGn8q+21Pf8qoQcgEKCNQJ/YUz3AvmVH3/CUACC67oekoyJGBWdWiGSPaehDZRi4SsD18YY695lPnSeUv6ZgiaObFsSBWDBFgudVZIxYMaeGy9B7MHjCaROkPu3r+M6FtFzrUpAQyH+uaKlhuq8d8qSnlVXOl94RdnCLJOv+3SotkL0ANi4u5JZ2Tg4UYv6bHL6LDDgsiP0UsfXOoBMEFHy9A1vZojR2GfTOH+QK6Qxx9SwFBlWvSzRjJx2CsRSY0IwohS/OTfKVwc/HmTrkgBAU4PNlUqIKaMMqtxesgDkU4EbSw/R3AeRDivMR3bJDhkmHawo7VkfNCdBWZdJIot5UvG+pfOvGU66xc9tXKQjED4S5kw5HZ9qQTtqHjevO4L/9XtpKMpIiMVZtT3MXt9RybVuon6Eja7OW8CmhbzcmLjpPMa+YM7L0S+nJhz+wTG1ESnOpTDiWPHg1du+ncZpB+teqJORRo4NZg6kmeiXCniekrnJrw30c83sCw8/ufFTJGXZtnoqMKCXeBtYN3gfLaNbuFtMhvWz7BRxVrhHclHiLJlesVZBShrpDmpxEEJWHHKkhOPOJMHpOZd/DRLU6CCVOE5QwmppovB1j46yR2M6B8MRA/6K7UxGg2xBVrOZfHK6kNcd3mYiFPBPxh8YhZkt4dQ1hHZTAY0a4B8Fcsk8TqgPE+pm04glRS4vK0a980AwB5+pOyVqibzzJL7q/M7dnWx59DaA3opYEf0DGcMP4ApaS+EaBYDLs6LpcGCHhPX5DZJ+kMgP58eIP1KjyIaiWnn5wC//SzO1Jen/1HWrwP0morOC8D4/Ygzleul80UIclD7CUaRdHW2j9EBBxNCU8Lmga7OzJnIfp4qcwP96yBbrD5Qr7cQBDmaJfMFlEY4CjWswljXGZxAmUIleEwIyHS7rMRK2+znfjwhxy9CcvW6CyXzq5QaeL65vHrpEvkBZS5IRhjcnxfp6O2PcmqRxn8RdWu1zVCcnvj3Ov4fqy4p/qt0xyhS1H8TAnXUDhx5Qtcatph1mzeGwS1XeSlHGiiGL8FPvyY9dXFGipBkpgOdwQAmjjwHZbGlUiesgjnXK1VFQhn6TvTKO74mE+3JgZ8J5uo/Nc2e3xeYHilKiUdijzEFc8fQACjVmt1dr8lMssH8+GPeZgvzOnlPxNxsJ4LgyIV2ge3rogdT+zToAKWkzElKXvHWUUBxo/PNREwMfXJSdzWXbLyhVo+DkzGiY3ve1Ktmw5xPnNKGuimeRGwmUy3NK2LdFIAC76bP5cPmCa8brhEynv9Mqfi4GNSjEYhIbEfogNIRIl9JuOKBgKt9TTXmYatfKwYR/vhQbMBjWM1J6zR3o2mrBo0ZTGgHm72m12GfbTwnVE54QcGPd8gpsPSh5DL4EKPRyRJhbh0CdIsFt7q9DwNH72zoIXlPinGU2jE8P4J6GRc/6bqvju6G/JpcB09kZFwxHbvbVV3SUgAosub81SaWyPDCPQ7tEyp/1jeo3wIfctCM/qy2OVcjLhMiqc+/M8AprT4GHM/eGNA+Wi/0x9ubieD7kizqevYYk6GZKFeN36B6hm28DRntV+duheh6SCSnwdWmU7qHjhI4fulYFtvglGU5k32sGbBVoy0Ms6/98pINUFSmyOqiH2r5rCfzyW/1hEUuBeu8vlqPZB0fInva8L+pU8Ph9e9K74ER7p94Q0IFwZOUy1euKipcntYd1cIB5Jh39IMP0TxytNcxcwj/YkjTeBdptKO7B6RMIwrTuMnn8H2sxKeoI7R/hCDvLpa6jgyCrcZ3pbPBauSMFsIZUXhLWY2dln6vls8UNmcUJhQJL9zLpyeqMRJPdtZbLjha6bwHu56x6jJJPm80b3BeDc5CIoEjCYXFy9aqDvPsBuBWTDswmNMVvzK0KraQs0YrMStPY23m4flM38pSVdlXzNHEV+eOTjrzVA07Hqe2Ec5jhga2jWirfvkTgDN65G4Um+bA+kHL0tU7w1Yyhjjoz/6g7wLNTRczJCTSLhzWBnTg93CucMgmCHAovk1Fd5ml0iWjeG2/bmvy3aw0QN4/c8xl6MBZePDMwo9VM+RzfJD5I4Yo5dlpPLJLUAIRk97YmXoT2KqeyDDf6tFdN+sSaZE6aF/gOL87s0lZkDrupGboNnM1IzltF7uwsLqmnhwntj6w+f10zQBQoLRQT3mVxKDoGBECBFbFVKzrERZJwMuJFPLRcPvX69TVXA0uHBy+kkCBGpQ0a9uiUyd1Jgwx9+5jOLXmFvGbFmPhqwVrQhaQIr2pCbS8X+310/GcUafRk/Ol1mAUkcSH+2BWP4SnwkDgqSDJ9uQ5QcpzX4qjFiPCsDylgy0rjaepTOIrkHh3J+X8EkBN0DYyI8SkDiqC6RkzScfec4IZAbBz4E3Vh7uX4JTEJBhsJIKlyzJuIL9e86f4fIcZf90HPQkEYMDZ4Eohf9lqKDVVrq3il0/N/FWcE9xYCg0jc505/S6toqaOZc6MV4g5uwb0bMHBuOOh8h4wmKjceidpEcVWYNpdaExW42YSYkJCsd2ROW/AmwhRbMT2/0qT7PFIDTlkANv1gFJ2c4ghZYTMpVXQa+pEfyYHeScsBlY03oy7uJE1hFMEevk7T40EfvfRxizT9eZvCESwo/ycMmUOwoEEBp1pnrEkZTxl1lvvo2MiZXCeHzU6U+KEBK0IOlf6dudRu/T8h1QLXds/70ijHrjfPwePnecPOYR1rVyPuL1fUK7ybLbZRPVYCVZGvWimN3tk6y0hZsNKsUKOPvGNM8mTQC3sNVeaJwlr0hChhg8S84Z6c3jFMpFW8hxCVcuoeiabXk2fx3jJnBc14NUHVNEkIXat6c36EowEejvJTZ6tilGoewgaAsH8x0CnJAd11+ntGmjTnHe9gdJAhlivs7w6HfATtlUEbX9uBJCW/qJJJNTRKOK87iYfncfhdMYcvRgqWUWWEUeQoNgPVooq+WmvzZElfRksoGc1rsabz3inpkUsKwLBj5AoTaJn9RkFvjEEL0y0mpedgDSQkcMVcoUU9wEAB3hkWtzqbjue9S4LC1p4wBqmOnZIMZmVqM6UwoOC2CTRxxt0Tsn8GN/ivkokUMShv+cFj8ofl3qIWlE4Whp5t3hbk+U6mgR0NtVBhAzyoymaG4inYKpXgsvwnHFIz3RRU39Q/TcWiApJypz8Bek2Vcm1BmKTCXqOYo03EU2l7OsqP7To9RiMWvQ0/z/RBN0RfEFiOJgXhNVrldSimr2TyqIADAheawxSp3pSIpKAqZkAP72E+DRj+wUrVBUNVXsi6hsNsTM+2GnsB9OhSHq0WFcQ8NZHjW+cSC6bEv6ba2svM6wsy+vDsZrNwM9i8Lc7PMSUUeRQvQqS+iOF9EjAnEaBiTwZBSl5ycaphVZq/JIFSSvIk53F4KE0arAwJbygt3yryMPwX5PPG9AhqTf3ppqvVWa9i5MV1h9mVaTGdliZxUlrF5KeHgxSfyaRAulnf+Kw3t53GG1NvHKkkbSkuco3HMXBl9md5RfSnaLj2XyP7qMsq3dD2kWg3jGH4kzAh2CRu8jJVPtrOAQoCVmT2XWS5YoFaKmUxv3FH68pYN0CK8CXkHzO9EftV0clDcPaH3EwB9O06wHMPuDt134JF0BAFOXv+bviQoBafzreQ0FtPTmDIlMrNNQlk02PcLkK5VghsXMzzB2Tn9us3fhDnyEbO09OYU3giTxvkPtqtPrf1rmy4Xpjlk02YV7q1I7U7V/9v7Ez8rVIvUtAnzjYqYs1yepI1XSc0DXDlQfB7cFutOMjTmZJ2yJhIneXaVYSD/2IQK8HLP1EfXCm5BOiOmXUgKuFIhsTDp+c8mY/1IFtKCIWDkuBwwLbouX4c9TiOFjgbDjdUieWXxiEvv7b+wuzrqRTWHwHXDVknXost2fWTyHi0Bc3TnI+J+6JptUsYq/mxo9NNOj8NrpZB3g9mBRiXk2rJVxcQxrd/FAhvXDUB7BMoKQLT/tROl3ZVVnhHfQYUr3fuefkCl7EK9J7u1n16hi0QeQ6xXiDHGnCVZJlT27BvddrZuUQGPquv53682tUCra1QjurD8fRCmTfv0zVpvek5KQKI8nQ/E66SVfyRe40nxrvn1c5UE+xpY4KCGfzyJWfGs7qXZ1Tbbz409+ILeHK+k3YRTtoj0UVELKvlNa2dHFmoXngqV7iNU/geJpllA1ex9mzwvkVBWOqzfB7UzLrYvfVZPLRhZ+TAOZLqwvpzhzegMdh77rJYpS2B2b3tPEic/kLJe5IT+jr5izbhnxsv8QxPug4u2t88MNwKZqQCZ/LLBgsWFSWpV/QIo5UfFOf8mlVXLeHpmp/kCtCWgxuygEoB/w+uYjVR9wA88FflcJixQtMW96UlZAZthbEwD91fHkTn9EGu8msl2QSl6UvzusjKyUfJII5qV+1jStdLec9DKnrm11cYeE/303MPdhdCsp2iT18W3AwOf9TBPHEppJHYE7BeLPINbAjG9hWqmsyBwdEyioVyOYefCs8wO8HvMXHPypehpIrD6v+oyv+ZdNCta6x3UtCzi5H8S7rltyOaOizBaPBNxhKA94IbSn2Se9RCYiFem0Gd1OkKhZ2IdE1ISq0RV6NcWTcj5Pc+K47NpUANNDeFSZSGmCbvJcJxy9DBTHVBwJdCLTwmNz/hALHZj6y0EsLvV7N7OErsZrBcd9pJwjPPqRbJOmDPIgq43CMkxyUBLVXI7mtc6URvfi+oRf/u1WCK07/Y05yBfv6sxWiLuTQAxqFhteRnZQn4595zJhXM40BXmt4C3Wvtc4HWWecp/W4iilircjmpdjzDp5QlQelYZ8A0nm3Us1YJuwHoAntmBeHYJX04R9xzUnIKJuV7G8q3wsuYEkYmIaOmCjRr7N8tjI+LU4FiMPWBO6ChSmyFdOpJvhUY26WEzMN7nRUw1qbr/KJrFPgGBQxssrvPltADvCVaAGEYs2WiH1HRlHdM2SM5x3cm4rv3sHMXBjNF6tozwa3owYyYX95a5hQZtOIJ3qddW8Z3f4wHVvfI6BeqlKJWRIxhMuLl6g6lOfHiACSFQ5vTxqp4ZpNmd86ataudZBHE+UZXqMoYgLZ1VlCLODGksNJ1GyZoAXU7RFCpJVKXlBNVnsXikA6b4LJcs+jHcd5UfUIJNR5TjEp5hdFvuYvYc6mONAnQd8HyS2RIH0NsXPinRDo4JhUAZXEV+A+A6LdSmO6UY+vGLf0ZMRaH7OGby1wyaypOLxY8p/bkTk71RYKNKYIjxRR1zfCLh/hdE+xRvqBbgQi3yta59NFWMq8VXbNUdi6fow/kuTeLi7OY6JUo4oP10lCC3xr63FYTX9lYln+1sgGtdbA15cDknOPALnLMs/vu4LJ7LK/nXVO3/MraLsGS0atob0rNt5dW8j8Ixgon1HWOKecVXjwa72kD2zjGHzW/5GHrVqfjqj+8/zha3Xz1Mp91KYc+kVfh/qU8MJFblR5V39xRAKdA+MuccidJqmPXIXxzFLD5OLX50CYcun2hTpAzoQltGEvsNOh/tmiFLyidH4rdVGtpvfZ62FccPktDQk37+gVlyQntvinD71VgsrNQ3HijxXztmUCTGAM4DVu20Fngc6nK1DIGuMAOxBAIG63yw0dgkW3vSW59IsIl8TvUF1nEw3096TTFLmwtuCRrKTFOScqcm9w/uGPJ+blyUkgyakdWDSx2baz9q8hkVMpNWssURfzQkuNGTQrjZaSNRdpH8MhNfmLojIWmMQZ5FbDy5YPejVhoKpdEa8c2czB4CsMK21v43lLRRgiWW/tC306Zzc1FXpT1qNyNOwes/6y3yhDIL1yZoju9geas9WyI/Kk8AdPJocjnOIkAdQicVDBLcRMLLPPLSHOmMzKW0yfI50bZzdvojW5K0ODMXiqe8Ea7tZdTPM7xbOYNu5e7xdaoE0M+CHNIMZ9ibrznejXDwkHy2t7HpfQjGmIOiFBKwnEOiAv9NUypVBT/fjgvbQT8VS4I0v4GnwAXc1UKxQ3OXhE+5Rie75aTg2RvFxlu8MTUGWVuBXFFG1ik1tDB4Fbl4S+zNAVp07QggkIAm0aTmaxMub7KygRDuV0kW8j7n+hGmNm3cR34w0xbCrhNpzq5g7XZsMAcNv3C0rWclKDiBaiFIpxjkYCphryUag6Kh87Zm5BZl3f5oIxsou11rHFCNr6Juck6R0GCisP50vRl1pcK6ZZ3qphJ5SD41mF6sqKyCZmKEIj6odTiIwO1YO8SKPCRSa2TL1rEtpshMTtcI5yIUf1yF7Z13vSW8xohfA2FuEydb7hSSNwBXMUOkNdXf+19gHIdzTuZCJjI8VpzUQCgPe9dEhqdnjEX1KTLQomclTAemTK5wnfoeirTHYI/MJfnmkKF+IbsyWPa/p8xffZ8Vnic7HfMH2arvMDgf01IJWr3hVGUKqjlxx62zmGHHEA3Fz3t1oMpA9UoBDGQtJ1y+Gj0DQ70c3ga0RDfPk2vmte/mzzODTLVn+OfN7YscHvxYuPrghVdOBabgKcmY4+OG4WhEUey5x/zD7g0ck1hQuKjBN6+zMMBQADMYPh70BQQC6KIHZifTyJcLERNxcC/Sxx4uEhEDs7yO8veYDT9yylqePlLKGV2/F7qk9G2MoloKAxbXDOOyqN66jfhPXtj1ZPp9YtGU3E47tUItIP/A3xKj7Rjbr4macMQOdx8TbMgpRLS86MBq7apYA597wA0G0N04poMpBTHqqxBkIcCi//bw2TsBIdCWbZMRZf9sTEXH5e35ezUxQ9ZlwTW6ATkgo05V3DEd0wmQa1OW11G2WmGukjXgu59lZaWQCC4sFN8jMAfct1GU02MSJLaIRbQXAayhMgOpKQwC/Z8PdpjiLzh1RZbITMv/NQ3vbT2FVk40G8cnwdIIZHKgMOXRMitl68TQvHqifVgVxgJKU1Eqy5LxU84Po2axyNmq2MCypwrKL99VArXdIk0IZfft7iPoxUls6mQM3lkxThSA+r0cNPiS4UO5SA2XXO2u+ctmnDIa0znPFwBgMcQGzugSdRmpqpjCuFtKxC8XcRQaTz9hkLfXWLYYSwacFMcELnAFhbvW9nOThDJPeBYhJzHAKbEVyVzZ3OkEkB+yFU+WfxVyhwp5JbWcYgz9vFB4XHzwVzKfm6KPB+d8zxzNFJJnsL30zHqd12tyUUbLHqjTDlQZ2Q3gTn+8vDHMQtzn/2KRBh/QZ/NT2wNu/dICrMX9aenJ13tZrI8ChpWoJSj/8mqj0LSCSydWJCscexrTNThUi+uutm9WSL8beBmGct5orN/hM0LiDBCR3VsgxZGzpnA6r0heptxp5QqEKpLezs/WDgRXI3SfUdSflO0DHD92z+vgSBiUUbonHdT2jWw4byDbgsGo4AXsDnhFJQgoKxAOFMzaP6VbHB/z4HXJFrvVDBgKY6weODP8AwI6C/K76X3Rdl/P4javyu8voPnpagcZEReABSlCLqpr98OIitrJ4HGcIYjPXbNKm7zws2ZQI6KyQW8gaPjGXLUmx9rGBe+UL7zQ3pvlVS5sKBQf0On6jqx7J1MPrHRSSLjxRphCY4hu/Dp7aJVhGoTwOiQENcdIKZ/iYlu86EdtrWO0pRIR4xE+RhsgXFhCwy1v51ty30yz4dU2p1m4W8CYmpMEFodJM7MJAMFXBwuij8sLCQHNBwHSuj20j+5bQPFT4qkMRmn9Y3dEixu8PD23Pe73/5rfE8Emyx31yEse6op9kk69Yo2iGZRaOQK5ukcQ+FNgh8twqSLFGAjTpnPwP8ht8Q3rA12vu12r4NR4+bGjpz2qKYzXaQEW92UZ+pUThZYxNz+3mzSf9gLuSSWLqL9lTKjhBvfjEYlUcdC9P0SqFiZWVVk4fK1IS2mF7UI+p6xF+3e+ywujUvr4TdQImeYRui6SQJhit6eaq8ojIjWnlUPhTLBfy8Uz4XdJngkdX+spqlbQ1wnLj+5m6BDJ33/O4f+2bTEKGh/JbGEtx0m3OeIvbx75TkVnlm9WT20gHSELzOiBVPF9B9B2cYqXcMtr3t49GShzql0bXFzrpBoSOvymKunkEek3BHgZErR9VbnMfBvduark1GaUkwKGUG1EkzEgaco5xZTXVcurEMBbrvVhzcyVDCMeS1iZunaTl/8R40DvOGBPVzo3VZNNj2pnrWt7yj/RNpZLzpgMUZhmI0OBeo0Wbr8Sxa7RevGRh3SteG4Vp54aAZ+VmvuGAVQS20qMBP3IlkgVAXkZDwdrWwxuwHXUfechNhIZywWQa4ItZCuG+A0Cb/G+Hg45wqw/ByFuh6vHbRNRJkJYK9+8V99uD5oRKPnCyFNGnGQ/PCcrjTm5r72nopQbNc0z2D1eIKdY9STEN6qeDj/uzSHVud9/9MyUz6eD1LFwnd4tZgYq1KQTPW+EeCXdNymzH2MkEokHO+k/4xdg9zFzTjDH+gMQpAQjQ9A0O7sTohJI9a8vn6Qmnb7bxh+PrtFtWTdCjysOEASap2OidazI8F07aUi2BbFUb00LCCJkD9KfH6HJkWXAsKGePSUtasFkombLzspq+Hr72L46cmFs6IqDh5vqHbSchk3cgEAX72RiaKkrDWnITaOL26x8jPJmDNAT1SCa9RkTCidFd6h25ky1g36X1dxSz5MIkfAmVOVReH1tqW0tQHLaUPDNgM03GSQqaMera5Sq2EAUwMCqYN+KYLGVNDEuhfBL2LABl69YprZbSGyVDsa0nbqwcj84+2BjdvxaTTMZptDuKJioZuV+PfIs4alluiXLNRxXjkTvVrFOS/kXpkfMyA2g+I6OsjptqwD+SJAWhF1ioaQ4M7ADdj9iVtKwfQYK4a6tMDuwFsIUtn8Ml/wGWFaMhXdddNyB1nW5mzPIf1GF03yZkmVVKAf+4vQKlkSm91k8TZaoo6DJPNmcrX0ZSVtpqX2U1QH6kmRmMkIN2fTMrAruXvLsL9J9sPSVY5jSjtzR5VXqcfBa8FJajZ8gNcvqXcJAf4fcuBAgJ6jd2Ux3z3hTdbzS61euo4KJ6DH4hSxzjdFDkY0LcDnaV1egmG8IX0LzOT14pgCYd9OxErkZD12fhzpzLhLtPKiJnIDPhz17m0h1TC99shg0rnxZPK36qR2eR5B60g5k1rP/aM7qAaGFUU2Wz/Ahu60oQu/MWxhcpC0Y0VAQmKrIA4VpFrlQE2btld0XvNwTl/gsHe8mDq9eB6pem8nVDZEulDlRTB2B3Np30qvTqVI71E165pyERkziUWj79U3pja3Y7pV+JMN+qH3GdXxBNwm5OnL/W1lCFFFcRdOXsHR/2o8aMa6PGKWtIlCMwuWc0JTWJd8gWYXpeFAPgVe3S19qGjbWa9yyDffa6LM7OnBY1YyisUL5xj3dUXYDcHLkJova2H6bSsDwodtHxQKCJ+sGEZEsCHOJJ88pKeoNQ3c0fHvutJaHGnqoEk0dMSIowOnkC5+cNQd3Xa5fG3xAVD06KKZH00YVu4kaDDlQkrAjzUd34h+DFFukNA+sw59DW3Td848kqUiUi7HtqhG7M0Zpacqjd2x5g7fl6L3CmWf/xIELa45eU6oF/skJL+azi9N375JUf+qLyzWV1pzCS4aYfKxL9l1C2GyWygV4uxfgtS1MfByVCdXyxgOBsaCDNuCY+7xaX1OdZTxRhFPpk9jBtDD0bx9Z7Jxqm1KeBxYuPDghYNUehDslMjt8IG/7/K0TmkQDkb5InkHGB+Mbgfoaji24Fdcenwm3oo2ARiAoklOl6b+DnEAzCYk1r6vJhbpljXymbFLJeMVuK8OsMPBnAd1ORqZsSwt4SytdTSo9E6jD+TrkLRbIDM/yyJF157Gh53XZe66MkyXIXxCeGK/KHyyb/mEjtTHFnBpm3Vf73yEFkVBb4q8tnCcHPVe3dJVnj2paS3zJccWUjWat3PEv0yvFW1ZaFEEX0stuY/VD7mJm2a2793BLJzTRc8ILtpsBpi4SeZdv8IOuScCz7SZG/TdEcDf41Qh2DeSJQuZUK4WADcVuc4x1RJIDteGxbRKue6tsPqUfb8uIp5rkYDJcKX7WC0uGtdZMNTcXrWTe535F1O8do+3yCmfKVd2dAiweSbCYL75DnLVQqybBt3w1vgFynWuqYFDorN9PniiFbTfRPjW2OvFVZJyhmsB187aC+7vSgAC1EIIHCuSliIdEAblQyxlMagHaldgB5JqGaVvFU5c2gEmJtcnWR4Dy/f0yHb4kDy+G093ARROi0ifbfhC7QtJXGk3gy/ytTVVgqU670owLJazPOdulXcYmhBE63OdIzVEuwK/0z02Qsf+8cMb9xusGRl5Q5QGXzrDy2RD9eCvwsaN2sBe6wqLlmguhiQyYpqp9b/lpB/CKAeYOFkyTLSSvnwKyUADZxA0HWlf4WyRXYHRTfoQsxDB0ozzowiakBAmQl+HrttkzpCqbMnrnudoJN++C+i6LZMzACzKcQ/NwmeN27HCL93MqI60GaAFEy+o149/mMd7G3pv71RKdOS5hjcJfhzIgljsKpmQ2IpopO/CqMZwucUIfk3o2cfsmZW2/3nDeWYRE31MQshnrhyLdjIYeJ5hV2mNibq4tHik39Y6FNTrEsMhbcJTwIAMxr/kG59zeozuzILB9mJYqt8KOCsPFtP/BQyBm6S+kMGVIz3OCZ4AAtKh+I/deNuj5RbFlcpNaJOfDt6wOIgH86dWdqv4Pp8qTBaJpYXL35dxYoCCKXEz2BPsWdNMAAladXw9kospguByZu7uowoN9zJY3kfOQwwk54rYncm0j/CVZ2y7sjJxqAJJz5RHo8QMVbdz4SjYDLzhAdoKpBXMEgmr7Wu/e6jbGSuOioFMPpBEGdui0sTgmTDoWpNvaZVJTxxxswD/oSkDF4twR++ElydJaxn4EaLjm2f/yoqxhItpSEZbC8G6EniBTrlvEcawTwStm3WWsPJUZa1V5uGx0Sbm2Ir2sIkRgxaZTWTKWJRzX5XhSeXYpw/lPmpEQmQHHX+ZN3+vs0PJ4kRCzHyYLlEJ4mx9ao5y61qF/yiaZuq2Ro5zCWkcFB6AYuKEMMLZuFEpfZji9OvRGRbot0qFqNp6Hm0vtvfphzaMr0ZlD25VEF9zrj8TWNclFWcsTCvELNUSQg2aP4hZSkkDAIs89Ek/w3tSunQi/xhENbeaOpALJiQeV4RAfEyQnm3zMOiyySWxU+E4CdWWZIvlfKMyGXGjlNecUlCa9+6dlO+ddsyo3HG4z71e2bQL3ZUW0WSiZha4hF+FTq5Ic5iDgOI9GL7UJYOylm0zuVPRy5jmiHJNv9uggAttjmb3VIpRZFO8z+PvS/JKXA2p1Zzv87K7nEdNiZsA1FJvQDdtSOR+bOL6LbuDXW8wirPdTxtR0383MCZVvP379dpt/g/wr51GyHl6XcJsaRZ8nb5AssLRXx1AcYhhy5QSvdgikIY6PD6+b8GRAfK+ooGpOY+W5kvBfaS8w+HDbexUj3pQoV4fwlrfr6Us/DZxQ/EAulGYwNavs8AWVjJQbyCTB9r2qLw9JgVFIG89Zi78pUqZqHEVZnI6dbs5BNqEprZGxhkwF/+0hzZBmEWyLb/CAhlk1JqQqwzkvuZl/fz/AKbPOuqwk2MJRlGQhqzyUXxX4o6Ga3p5GMWWMIyM755yJU9dkpxkzXWbYORWNrAIyxxlkXClnzHoN6WwFQ6yUzValbnbRdWd6Io4rzybhwRs+S6IGzu36vfFU2ll3DQpnARJpkfQ6uHkPAlmh+Aye56+PdQt3ze93Swnzm47C9Hzbuu1RMWZvpOez8y+6Ex33fcTdLUP2TElfEVHjW732FFKr673SQFbbii7v23R3TKG2lhDhVyPpfQm8TW1n3v4wv5OPAUdKLqbRwlEDiyujO5lnRbdT3YFWj1YvfM1KJQRnf8iDQ3xNh2BdOI+VyPvsr7ZGh/ex5Q8BZK8BZjSFDEOL3mtFtQ1oGBC7k9YaKJTTlz5iJkrxdnyu4zr8NOqbk1MnvggcEtJvoiBB78VRUNKVfd+h6lnZEdb/bSChQcHMRvbkPUWDUi56m3RWDk12NQWL4H8C8Tq4NTVwq6QbommWsyv3XKKRbpykc61yFeGCcZk2IRSuSQy68wwXSIfAdllUZuW4LkiFFx2m6Ka/PM2wubM5OUsaywldhts7O5z5P2DwZF2jNstCol2fpv2eLuYBbP0ttmmAz6r8iAla7E1guOOsUUxfsV30UBs91+0OTgAGc21RyBpqwi46mhxt+Z+j4q067p+wgGfGA6ryzpPPd3x6Uq+e617eITC8vpbSY4tfpu9fVdCTWQWXPvbH3NiN0BQ4A7n6SEObwypaFMiAFa5+0ALCTbRrHLdt407UqdN0Kh8/KHoGmnOtBBYTUuF+q7fWejpG6h2OqtOEcpw8NPOBM0ps2nzdz0RB+BpwW8hQdy/hhQqVW1IGrDrERGNiCMteu/AMD6IIr8aBWTOA3z5mr8R3C9rTebIefNNfQ0Z3myqf4zSPCNUXJsqsMLqTUKggURDvTx0Vwj0+pMmIP6YYZcnrVXJVET25g7xwFqXix3u7kaLjXzUzUz3uNVR1y7u/s38jj86hQb2Tekjua4b8lDGL75OZoQoAOi7ObQr29515fbzT2UBWz3G3QGhSBnNOw8vAxWUMUZ6ttG/XO8T6juwY3akryeeDlZMDHrXwLxfrHaCi/cfuauqNS8M1ujW4Ncv0iqlG2csYaFPl4hMZBsyFCr6aLvhcvuKvOFkDSEbKa21ZYPsQte1wKVREHI9eOs+lmqEseRICo3fqBRh07y+sEmrQHDCOqP0ugFd05tXtpgSZMQqBXL+vOsV0BTSpFKE4OzrDjjYAAB0Xl6rimA/vNbRfhbUQ12NE/peOaMoSdLymI3R7Tex7pZKzi2ZIwdNWsUyddHm2FWvEkYrBKo54y90EkK9nYK5ZGXBT5XkcjPIRazUm7+xDhJCuGuR44wHCEuK09xtT3c/slRyNmpEDE3agIe//P/XlWuD/H8U8+xiR6Y2oWRUswwWJRPJ0Ey7Z7f1bJp32J1PjqrWT8k7R4JspEDYpgp3yuBXG4Bh6WkPZFwyP7zHUTxIBBUp2uv+IYzHUQnTNF/u4E2KTt9bjnKaUEPbLWAhvaiUAVq0ZR3d5rt4i3JNad9ErOqlG1DH5cOmm51wn0X02CJm65clSKRsVWiZBc7d4Ava2CYAzDGKvvTUk/SzBBiUtQ1uPM4o5C7bRZiIz3jSukA2vZFKzV5qCI1XMBrm0xFeVpc7c2zIYgv9S+lpg6mRs2hnFGeyIK8IQbR+Sdyb/94rXQSAEbosISDqieFojNeUjaA/W24ZKsU/HwdsEyJunDd/BjSBPOpKtI394q+fSQUZiajgqrYmS4unNnQTCSVj0/PzKFnOCUL+pk8xhE9qO6lHHjr5hJmXDyhjtmASDAXDONDtJrE5oTmvVfvKEljcQoTwClU2yebsx9s5HJLTS6yVAeaS6tOjt7wDbXaEhLymTlIOrdo4GaHloDaO2wQT3uYDztV9PO75NwqBn4rRzfgRuoJ5JwQeB+sOF4v0EYndWTefDcmzq0fFrAV/D7bDRrJc6cLcIA10+YxjyNaSTA3awnJFhs3PdqjUsRZHu9FPPzepVXI2lQBLWjOiawtsjm32PlFA7FfFPfM8HWWxM16qN97WCqkc290oLgpqgtKI9gzYq/H23T2mzYPtc+1BiZYhvmLOFwvniwbB5UCMn+n3NsC1yHrqnMisqMJk88Ro9ZsDDSMNK8zLZd8jv6H2rOilW1YLRmftRwRJPStkqSSHDj087/l377CsmGvtabHmr/S8wHC1KiAAcZQXMHChNOHoHGwucUIBobS1lq3EElsIV9JYybPYVi18n/UloOThORHScthCV3+MP/xNYk+t04AHhiAs+wA+8e2UlN4PdpDCVMgK3s0Hcj7c11o/OPIOXJGTyvpq6gCmwBQacfDniFxmLbUn3LBr4sdIXnvYn02Nuj4FP3OEll5LR3oETrikp0/MDDzU1VDM3GJgjozD2pRllv9yDiHelECECVrUtkZikzhjrQTAsD1w95obZOwm5JjdjssK6vaVwMcaG2mAISoxmL/e3G2wnSiVcUE1kbtwwbbDMwAs7kxcZRYthrkeB6YzM7myief09g45IZUY7Nc8WBhgxyReXy6e451MEa3BBq7CYZtI2j1lunG+GKYO6c/h+AlLrAMbcIW5yF61ogt9kFK/9+YpCa0q4p80vr+/dWAnZhNelVgl/R1IE/1/RrZBt6XXPOLPEiSDFpJivWoX0rqq58aLcMNh2Qn6SBvDACSG0Hn3Ud57zRzc/LGRkDu3qTcFIbAW0Wmy37q0pg57PSxW8NoTOpU8Chaesp0LMQl1qGppsi6ZKKg+6iv46kyqMh36t/TmVqdHUwEgy7fz9budM6QBI4a0fgE2k2sRZHyDTfyNOyW57U1APuljKRkLv7YU5Uite2zGE73KYEvU/1ZgfD4ZSW8e1TVyW9XLA8ExNVe9UhOH4MeAbs8tD4kQzbhtSKH20u5f+wq4yL4Do+t8gJ/UihdubEQCZb7hu/p7p5zc9ozJ8OOP+oVRGPxKdBsrX59og49ALuisDjLfmK6a0WUEIzKk2u5HGAMgQP4SDd5qDyiDo00J4tFFjOj5zLV90r8w7HWy6mJXxdjqvDtrcbRNUjSP2v+prXrvbZfSlEtfmdzmV+o/SLtpgYaU+OsINuIy5h7lCNZJKQCt09DNn+NlBJQ22Q7NSMh3rZfdUCpRWkAHlO6ShnriNHrbzt/G95ekTx/J64a8Kxfv5Jj4To9ILzhEQayZiK3aDgO6D5AHvH+EG+SisGfGzNVkNHhhMqtZiK9TPR9adefqKob4ewEpDfvxhOOnNRBMEvBdFHhHNUsqLYToOw2XtF2AnI3lQ78dS6RqW74wS/on3madjbeCtrUZ1amyF6KRCWrgVUcolW0AqtZSvUobbPXgjJoF74zXdYrqusC6weYg/TzOreqbxG4PJMK+g9g9Z151fsK3153FDsegi4UwdrLZV83DvhPxWJj3C3uxWRSjentTZzNmdR8+dyFDQfXaJCV9CXGImDs1ZqPR9akMLW1i4AJl5nthu+tJ/QTa3WXdH2DWO8DzePWe1zlzelHnPx7vhNDPG1ravkqOzHOTXx1X6mFeyQqJWC7PwUN/flxm+E4mUsjIP9Vu1dv2fJX3czhTosYgsIrROrt2mDiXaYDxXw2nGwhWwzBR3A6YHsMroWLJMK4pMY2QWsAKr1xTkGYOuY66bJjc2CWW8PebgSLeNn3BcB98Oo8n29U8+Q9Box8DeDiw07QLki3HrbiiGD8nH7M/u6Fv5CVQLFmiUkqprujlUxMZ8DjUu6dqIXq5N8VNeqy92UynhWKoqUd1jvr6Tbiv5p4hQaGW+HjvXT0POSTKePmy1Vai5+9dWTpV8T4uxW3jgGREQ0srwIOMJwu/PNyPfGYV+HUIHgpxMV8gGA0j+4H8LvgiC2jFJigUdwRPCvyJFdbVZl0u7L9+PY81yesG5DZic6ljCnCYGywtTC0J+vC0weeLSdDerdkr3diH1xyGKFvLgNLDRF9J+a98nFBWP6w5vfq69LrKsqGlNV1kgVI05mU45YcEL/yJXiJHqjZ4yO0dEWFhWdz+irOoEa3atRpofZOD+Pzt1rZdlKeJZB1vSIb//+kLHoPcUM95wrNK9JyYllxncFsYTP6laOBrQeYYXb+TksnvvCtoZfOf8+smE2Av5/hrjIkdLN40heaRzYeQqn4BOiPpmlT9AjURZgSLD/Nx+3kDApHJpePRbWKhx2Suw7/RLSN805KnBUr1rLXtq5GJkq2ZYQhzYSseD98ZJSkDSs6P0wryCGNbh3ZGe6uIFL1jHAfUiLP5plgmYQjViLaC/THVCQZb3QLcz4Emq6KGIRiL5UQj/cZjKOM01iRVRJd49ug3kaeBYfRJfXzr+Da4hc50Rz9kCLmwBR4Q7JK/Z01fkNui/8paF/hACt2YcR/z8rOymn91reXqnXa97hjl+/LCIUo1CAZ7H8RhJN2CUoxIPhpcCt+2VRqSRenX3pw2Oz/FsLg9k2V1KzTPVHslsPC8EnMmse69dyIfL5wwc9Cmp9FcKa0CkpFuRIcqTAQewo4WxfrV9eduUBCeZeENSf51yUUWwRy+D3YCHDaGE6poEHlIrgu7Zbvj5ChjSlfteUoRv+iroodEJ6sq9Y2Le8e5fcKh/cgiColvbR+v2cgEE+mJ7ufKCbKZhu74lQJqJJPQ0RpUN701lJ80upZwCou2si7ZMqqwCWDWPhnowP5YwVtx/JArPZsKe0Rc5R2wX+9jpjeYVxo7GS9wzVhDXHrIWky5OJNqNoOivPyc23bh9ZzDmdfUyRQZ0IhqPst3gRAQr/9MF2//CPh6yRX+KMi+/UCFKwCB3Zq5i1Bhnd1w4gchMAUiNCDBGUc1SKaMvyVnUPmNGaGRBz3QWvAncvvzOLWtVyCUIr+ta0RCeGF/+Zul/shBv/qccIYpCQwilT4GuqZbBbSNJj44JWekZ8po8+aOW3sfoCZlKtVL73L9fo4jdzUQzn3XtT9CCXuOItaYaK0IlbyHdQz/K6pKwE5Q9SiY+AFaw0FmEa2u5mC5sefD1Z7B183dXSozkGtJWlp+qq0bBowD4VPdDtf3iyiuRqijxrHkiNw1T08Jvr5IT3I8I+EIsll3Xss9X3IMCs9LRQrquy+oRi8GM17TZNbp913LMZuKrI2R81v3h/skeIj1+2tdZ7US3/qKbYt0VOzhsFFfcKoWPbfQZOQz9ccvv+eC/b3x2IHci4hceZDycAJEuVxrgFaCv7fJpf7RmKtaa05CiDv8VwxPBDj6fSSsy84zpG211S45DoXjwGPBl7DCl7/0lVQZ9YQCuxj562oHwpM+MdPpbRRKs998LC7BSteCsk/s8vtlLTwMHnNZQtceaDdwB1jeYoIt0SzHZNwTTV8g0FvW+vnJSWDsONxPVkkM86dlWGaSXBpN2EauJ69dImOgLzT2HWLPnC+H+c7PUAfI+i6nxWqPghuGvzVoBy5V58Tev3bg+FHQ9pWR+033KYrzx+6jOtnIDqpeHt8Ys3WSgBhN/ZJkZ8ZRY+x0GCdLoK1HiDrKNsZLLprA6VAPx7dsWrYSwSSObGp0KwC7uwWLJxJZSnbrRbd5FggS5xU6K8O0aCQhA5wkfpUwdS0W3fb3liQMspm1QbkWda3XRiwP8H5bHKjXXPGDqcP9t7ObiTbdABBF4FwHTq74Yp7yOCQNujuq3pF0Kw4okNOCyAA+UJ/t1hmiKOQix7QTBLCGzjsZaT/53skBbZFJGjl8o/OVV7X7034OGrbZVGJ65gwymTr23d8icH0dLrI1QBYNPvakmTCy6B4791KBbMX8ufFRscIKqGL1C6lcQ/MHEFz69AlKW0cj6gyQZKZBdKZAd5KK3FIWjZTdca+1/h6qrex1/F7VKng1XdKZXEb0bxe1BtIH1ytz8gsf0AjHixDp1htaucJp+A7Y5JU1Yq7qOxFlhiJ3xPRmmrU3BubvAGHsjWTTSWGF/v2vB9hM25nDH+h8Ifk8S3WbY7W3P1rrYXonhc1KTdhjuuDKMOw9rqWuZhiobzq3k2uUpWvsKfzyRWX4BW7SNFxA1o3xB7qhhY79KsuoKORD+6UShKxlUeeSRSy5G1fz7OYMLAOLmO2sl1xPPmNzFYi5L6z2aRhSdS6Mk91q3SW1/B277KQXIWKX3sclAznF3N/9DrHkLuNT4f7ibOTh0WWZNLOLmV/w4mmRB8REKIRAtCI6+tWdAI2jE8ECDR5g8AsUMDy9xHtuBc6IhXtNSIJDDwR0im48alnDfNc34zOJp7rk063XjreDgsiXgJQVnlogQMpS9RD/c3VOlczSzVwz5oenbWQVT3nL/HexvoR4GwZbUZRlthMuT7SiSpDFzNCFqI5zg9ZGLxt2qL8z2dT8rOcwvqp1QNWpcaaNCxOTowU91N9k+iba+V4WLXem0/bkLbRCSGQgmnIcgd/ZFPH35V/eZZvYXiIkSmCB5141E7NSvftxBu9XiX0fs/JC132uR8DF+ssZgvLxXhE3yGQfskhZyJBGqesVYoQinS+u1RcCYZhweLN7Ex2ox2n5mwpt0Ss1Psv3q1vUKGJA23gwXaE/yE0e8xKzZfaYPfJOreG395Y6JaVGrpU2pbqP+B+sDz0B+UPHRwGEXZET3Lm8BptpmhwbKtzESh/W4QOsHlkr55eQT0uSZQ8vwcWfG7x95+cOY2xGwqK3Ft9+sJ2rkK8yLRYDX3kCXAikhbPIqRg86X5X8jNzOl74bQBFnMJ59p4n2kiHMDf1L6uGw7QkiIbhiouM9GL/it/aWC2iNPscehDKNN1v1TdqlMG2wA7FEtzmxyln1WSyF2Fflr65mGqhOBtkNR8hNCVLODRCrRxUWDuOnArok1PQ8ED4hFpydUuwiBkBybGp0JMOPhL9wkOaKqPme7qvHgXKc92Hwu9cwzeqimdVAC5E+jwIs2EBNx/VzTVrMnWmkaI2vltQmn7fS1+NcqwXDaUViNlRDVdd58V5xYj57Kcnq+2UexTppZv96pncDg/ldZ7d6PgjkhUSxruaLBV8+x9pdeBLzK8Q58HhWur/lvXmJKmJfSLStmDkpCfvO8n9AR66wcOQ2LJqSRI1CSrWyqmfDf0Fud8XVVvyRlECl/Q6BMdwI5ug/3HkKqPRYS/Hg/IeL3gyQ0blsnkoAAeQX9R9zbCsxV3npJYpBw2MCubS8J721NSRFknEH2BYkiCSxID8EtLcPZw8fq2hcjIjbyxukyVtJaspiuXxBNdLKnwcYLePoZDjD+7eaCFL1Pa8y2NSpYPQyBwjwbp/3C4CH5QAuRfK1EThJtG9JYdCeYGEI6X7f5h+52x8OzzI3O4bo8jwMnSKG+wy5gjxXCJ7mbTrlX4gjsvw3vVC5qjvdHAa9FvWhSRLFV+cmOu9Aemv3Ea4XmArhK8gpOUyxbbIv1d42uV6bMlPuUX64J4SLDQh+POTsqw8nh+JrV77Fz+YhvhPV75ufisEZR1bsrHPpsXSa+A54brLkFYmZCS6pHHZzB3srArYGA4E54+gfCGU9zflWLUhxuO+Hdldv+WyzqJ77ni/VpJhWkWZJk2OUPXeddXELI+dJ2BE+CkeuYjMiRdwbQBZUuedceDG9OVRethjSC+Pi0xkkLGaCwhzeDbkVITpr34RgzgMhweI0UDyAzqOezgHMssXRXey+sP9qFdvEtzsMDnXbD2YuehKc+/AoS4ovx7a293Ce3o787eOoJHhvj/j+7mRpPE+RloMnnM1sTLjpMcZw2GSfyI4Ly4J6+1qQDbMh7/ru8helwfvsYIoewHgDaA0olpSfO6SDo6ROVSSTYRj+Deu53nFmeB9B40MasEWoU0zbYNHN7EmR6i4f4w9TYRT+SCrIb0z34sbNUFefAe1vSnP2g+OGj5kcxfMcRC6vYpAxv4kn3db3kjCiW8bOgTiGeiML1i0GfXNBEtYcmEpdg7UilfZX6sWrmKr/LS3c+LGpx4FKw3aNa5jHSvJwQ435V2gfL/oUY0ssd5gQ3GeKVxz0ISBvovn8Ft4UIUKw5p6zKPPg4B6I8/dPDcU7AdVcC59MQyLJpr4noOxOJWr/pJag0NVHDsfwSWzB67vnnJmWZeF7N5y9+m6ufXHSfoOHWcjgXULf9MNda7BuigOL6F/KQ1zChll/O8KoDWEhogWBwuoZ6eTkcfPjxPefqR7k3jmjlLeUFYyvoENHfTh56mJBP1EO9LxA7bxHmOGvAw2QezlZYgRmyXej8E/yyRL6VlLygImtgsOV9VUAXMvf45LyYBXXfJ9/s98RH2dycIzGNEb48xvVNGypJRddwKNhwyEwL1IcLT90rS4kws2tqATxt7f1Z8+4ZQK7oO0JNtumgj5AGFPygvW6p46Fvd3hotAM4sCMFIECwmG2ADMw4fKlBmvqyscrV481sjwTLlceh4IWoFDLt0/iEQmKNSVSP1Qj2BH0e2DRlTrUoHCER5c0sgtXOgEUw5VO4wb2axgZe6gBsfEVSTK15UkVpLVOXjSsO9AklFruyjZ5uFh71AF1tDkV83jIY5d2LTZY59NPeEQTe1o513P6TJtqDGxnE4pOEC4WCMBxBHVtDGooBoN9v4p3t4j9sK1Ylx3XzGa1ezxXwkeE7M3md3B51t2MCTn97M7w8/EVJeeqg0F8hL0m1mKjKzBqdQ+Hnz3Ce/ySMVk3ySBoLRgN+hUa1R1SyzMlY3e/mszxKg9h1N3X7kCGN4kRpr0fKscMrCBS60t/icjaUCC7JjknrZKBWyqYlDG2j7kYsfzfnp/QCTxZIvW9TSKL5nHkuaxev+N2SUvlnhRrdgukOp6ieVGCyL/oSu1dAu0mGVVupceiNPJFF3LdywiJNaY115BCGt1i72Iea+WZRyENEh83l5DZD+uAtEXkBnKYOoSTW5aYxFfqu5ju9Xz12QfEVMmLsfGsINhkz9Kr3marhsvW5tyZdUI+vh5skgzXRVa9KiNoI9tmzqYjw+lNeCDg1gSfFDQCh5YqxOLjWXxUMnCvzdTquEhJFvNFtSVSANPCGBjOhdBOQ/Z8jRPH0CZ+/2Mvw6MVPC53FtBRt8d/DrcEWDp1/NxtwP4C7hXhasYSGvDamZHZ7XVB1y8ElfalEV1uv8Vl20JuMj4ws6+1mUIdK26hHeQQlG0dbv5D6jZ7IPMbp//CLPCUo2TTlsWd3Ss4/Fx+GAE8ihIEwIdtBEi59/QdxPzT85RzY64nBPY+W/iV9CKYDUeBN22NopM6izQ1pd/B83x07T1erhaHbkSIpwWZAl4UH33W4QpXfL60ThlO/x8lWJZ1ABIlOS3ZqC5RK8eOs9DCC2k6iuddFUQ+2Yq77iqHLyqBdzw09kv1eb+IHFHYkewSDK75PDmDzWhEt5UrmooB8CYbKySh7MVbJ8btEy+glOIQGuYnDK9Id2hIBUdNfupAYQp4+qXjkhoe7KsfuWC/1qYxZPYWlzknO6ycXFoh9x9lTiJI1+te2h+9z7L2nmzRHQjyHEW12cZXrIXMsy2O2GmDUJPlELL1iJis9coQY2oMSCxJjZAk6H5P/eSL7Kwko8IoEUfIC5O+o8Fv8DWtETVCNthJ+0YAM66qdYrFIeaCSSdfK2aeJeTkOpjUW1ojRetcm7lYfmsdnXc39huoLw8WShjmtdNqBihQGePBTgt2nn+dR0iKGGv3kScV4FF32JOkek42ugHugUG0iM4ij68WqyZcTe8LClIT0/GzfH6SqoYq3FsBmceK+lqRZX3RHQ0V+RF4ht/JgA3DqNCuGeNimYBeD+Y+ay/MyORU+q+fHKalQlVfTiu8tZVDS17hzsHiIevFygoTFYydxz1KQEBoK0CHtwGuMr88EHsLQMhmP4lKfrUp7m2caU0MwQvR90mglq1egLrAdBTadLohf7X3wST57ZaBxBwwPMNOUmiAlCvjKW6SbdqUvRJfZDIwiOFws4eOGayKv2gUr++TamWsPaWqDmC7Q8+k+GQUepFLcyh7r+V07asDQaQ4eaxieUMFuse1UXC0uZh1KU8lJlzF2cO6vRy4VsLCoOPOppJqHwHmVxknT+l82BnmuMWRpSLPK06Rjd/o9LMn6m5D3p4na/5ih3prUxRz5bE8RaqRfh77VI2PF95SxioYOWM7UjxIk4zunn3Qu0WX+Vjp4f0oQrrvHLSXHh28AlfLGKPX4PiovuETNlBX0F9rAAqwCdkl9Talv512+IiDL5R3mTOUSp+GGMBYIWQfkU8yfb/2gpKzUGnqjn97RCI1jZvNceTF0IwQSdq2PIfW8S9Qf8IdLyAZ4Mm/6MfIFXtaFrnaomFHZmn5BfLGYB5i7M/6MbZmazw2S8Q68vRP7aZZb9xPOx1/L6m8XoPdBYK9GcMYDq9+rYaJ/lNP0EWiZVdpvspoEZflybvBd7EEjSEZ3qrMjIeXH3zOWzH2b+XXcSjoK5xiwXCPIb2p1Nq6EZwspaHoTCwK3Vp6aJwhpayRx+z6+tQgV86gRmMBaob+fiQUTgHnl3Jz11hQFJ6j3Q3K0B2fyvHrIIw/dGHSiSqJwCerPggYdAirs3s7fsc+zy2TVlGn08jwb4mvG1fi84AOGfYx2qZo6pSq3bIWL+WT0HPxXpi7Q8T+3SIVAH5loRYAQeLRmLvWY2fRhfm5XNx/NRDoDOPBYK3NpitFlQqXglW7nK+gmlkeEIU9SbIL7bmYop4tI9v8MHaW6QQgb6aQlqt01Unfp5CZVSadpAC/Mcohff7sScq74+H3L4Lde6im+EZYpDBLtSXYvRHalbiuBtbYqtB23FmVCHG+4rmti9WCGWe9eMxnqnHDT7MaRDZF5zdkCTxDp0rj/QgNuZxli7UwoHe1io9+ZKE4qHAb+LtwSzd5uU2TZK2xJmcKYmfCKM6VKxkyvWvy2qxgsr689g2AfvGQ0UQgpqyTMNIxkdSa4342NUtA3D4J4Br/ehs3EsuJxMzM7nRrU7Ir+KcNVN03y9i40f8iFtJSjqdIDiWbIlNYjXRizZE9jxXsyINHNWv/nx48dge+ghaf5SrmXtoSGln7wb+Pe/fcapIJQr/JiDwKc6yc+ijBVUe7m68y0kqEIqE+mGXe5Aho6XQ3peRvWZK5rn7QARmnsHLyD27vYSoweSCYiBzVXC9VlypD5KQ1IOK2RH7kBh96QOju6EhLvy1a9yJysfg1ZXi/jTo73OMoFYV7qukFV/IcocQOINjZ+xAvpD/sBW3Derg+647ftX4aoJRntImYpYoDik/ZGVOpLReuHOt8HF6egj8Ra1JWuzFGYs1KNeLu6C7EBqNXQzcksmJ2Z6fS44se1nvTeuvKLADVvoEM23RDFPh/5uIaWnBl37Fbg5ftI8tgodj/Ieew/WFcwXuoHlDYE4JXj5vb1hK7ijZUHqDDWGn1d1JE0i/yONKsylGBCdyStMDnIBHH7E5O3VkNUYv4X5Jvcif5Dc+DzNYYsrrlGKd4vP/7rx2zEvsYMC1fIducDYoktBFiLHI7AYW158oJg3pYHPcZFAvua1lkrOtgkzMh5G87J9tx3y97W3Qw7UNaxR4jot4ZQ33aeq+AQYDrjSV/hDkUFOxDGwdilpc90XyYNElCuREzkdy8XN82qCJ6vOcinkstjMDy28G5Rt2bOFU34ZJ2qBt2bkBAq+d+kJnyDp6+PjkTaD6zmUTuWrFQpqo8iIhkXMyKgfQohPdj6+t6l7teCLnp7aueJIfAfdA9YWqudOlSmb6sno2t6/chXy/bwmyK/7pVR37CpZov+RpoO+lorDAdQDCYNxB/0MGHfzhHftz6KYdgO2Xs4vjCkSMrx+kPZihS21LBYVOq3dJtuj+nrlxyluIo3nJsOen7iPWhrEXySsPHBI++P5sEMFl0hdqBHesnwbd9fYZzC5Rnx75iqR6Job39a7XVhwkiQX+Q14ULRxp1U/SER7JaVfBkoVVsr/eXHM2H487it1zpKrVS2C+IfqLV4ntj578Lpy7dTmksSa/P+owqsa7h20kYZXWjqQqqs2Npu2TG2vnMy6WxJOybLIFAPBDA/bmC8iPmY2Tq2uVOTFAiz7Y2W/6Xq3jcrs9NjfdkO0CXeywn8nlcBnkSY3mT3VkSEwwKrDNP6+0yGqWKRPwEP4hCZIKkvyDWggJKFVkiXssNhyquMuprJ3qUuS4vS6U4f1dpwqiWNQs3TtSuGKgxFfdG6lgxHsiw4P+VEgMHj4Fx7OtkCr2tUlpxCCef1S+lOD6iqs+siglqZmNOLAsPz8w/jX+DirrGlw1V8FSnjRbZhniM93FroFSCmQNOnDCouSXXrbtIFKHVxidEG179BsdDBJt2qpujP8qIJdNYp94INMd7VamEtyPw5ok5s09xIhiNuEJsTp1UWEBT94JwAkj+xMM1picB725OzNkP8CBQcGTR9f6r/rFuVGaTEjOTr+ecU4xEwu9rVUhotQhG565Y8MqrHjm1qVFo4iXPs32XDgWi63bIdqTMIAHHM5qxQvt/l7gRu2GIOdNK6NiUdFFIXoz3QZdd+EjUTYDt0VIkv7o+wuaEwBGDe877xij+IwNTfxLogbbax8wbzd8jMW3MmioTahge8b996pwnmKZaoCKA63iLIKjVFnJkTW1QUoY7/iTZfCOo2mAzyG6nSyPc5iKkWDZDYWQ17IcWEjjCPzaMRtU7/Clvxw0ro/WGlTmYiZgu9GBSOA/CipPhBMOsXYzkBo9EoKWYtHC8iexzHmbE+IeVKQgKkwO8NNk0oxE5vRjxC0Qao0IMcfU7nWzOo1YlnD7wkZT3G5Dc6EjBi42raCkOTFwTgYf2HY/34DDsKNCCrb24lgXVBbfCw50ky7UpnQif1TgGL4VYPaUhYKpIFlo8s/+wJ/WV3BuGCMMrRRRirs1CKFgZGyZ/xWxv6BS0/4rBlZDovBqCnrCxzXiR3/SirYv+1MrTbCyObf6w7A0Da7GA/V2HT" title="Mekko Graphics Chart">
            <a:extLst>
              <a:ext uri="{FF2B5EF4-FFF2-40B4-BE49-F238E27FC236}">
                <a16:creationId xmlns:a16="http://schemas.microsoft.com/office/drawing/2014/main" id="{7D251B77-C3C8-D1BB-FB9F-9D62D98ACF2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70166" y="1490039"/>
            <a:ext cx="7398326" cy="4641983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35" name="btfpColumnIndicatorGroup2">
            <a:extLst>
              <a:ext uri="{FF2B5EF4-FFF2-40B4-BE49-F238E27FC236}">
                <a16:creationId xmlns:a16="http://schemas.microsoft.com/office/drawing/2014/main" id="{129A788D-2321-18C8-11F3-C731AB4549E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3" name="btfpColumnGapBlocker231171">
              <a:extLst>
                <a:ext uri="{FF2B5EF4-FFF2-40B4-BE49-F238E27FC236}">
                  <a16:creationId xmlns:a16="http://schemas.microsoft.com/office/drawing/2014/main" id="{EAC21628-8B49-3EA5-BF78-C04CA5D40BB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1" name="btfpColumnGapBlocker505871">
              <a:extLst>
                <a:ext uri="{FF2B5EF4-FFF2-40B4-BE49-F238E27FC236}">
                  <a16:creationId xmlns:a16="http://schemas.microsoft.com/office/drawing/2014/main" id="{D950F1EB-A527-56FB-6E1F-3541C0683B64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153602">
              <a:extLst>
                <a:ext uri="{FF2B5EF4-FFF2-40B4-BE49-F238E27FC236}">
                  <a16:creationId xmlns:a16="http://schemas.microsoft.com/office/drawing/2014/main" id="{7813BD58-4434-4212-3516-343F6F6EAF3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120044">
              <a:extLst>
                <a:ext uri="{FF2B5EF4-FFF2-40B4-BE49-F238E27FC236}">
                  <a16:creationId xmlns:a16="http://schemas.microsoft.com/office/drawing/2014/main" id="{25E380EB-4660-D4F5-4DAB-B943355CF00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471915">
              <a:extLst>
                <a:ext uri="{FF2B5EF4-FFF2-40B4-BE49-F238E27FC236}">
                  <a16:creationId xmlns:a16="http://schemas.microsoft.com/office/drawing/2014/main" id="{D0050151-3793-E373-E037-3EA668D97CB1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640345">
              <a:extLst>
                <a:ext uri="{FF2B5EF4-FFF2-40B4-BE49-F238E27FC236}">
                  <a16:creationId xmlns:a16="http://schemas.microsoft.com/office/drawing/2014/main" id="{3625AFCD-CBD6-F546-30A8-06A5D84BEBB3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637427">
              <a:extLst>
                <a:ext uri="{FF2B5EF4-FFF2-40B4-BE49-F238E27FC236}">
                  <a16:creationId xmlns:a16="http://schemas.microsoft.com/office/drawing/2014/main" id="{1A84713C-3389-1507-CA12-A3D81C774A06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407882">
              <a:extLst>
                <a:ext uri="{FF2B5EF4-FFF2-40B4-BE49-F238E27FC236}">
                  <a16:creationId xmlns:a16="http://schemas.microsoft.com/office/drawing/2014/main" id="{C67D56FB-9828-445A-1368-3EC41839FA9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385805">
              <a:extLst>
                <a:ext uri="{FF2B5EF4-FFF2-40B4-BE49-F238E27FC236}">
                  <a16:creationId xmlns:a16="http://schemas.microsoft.com/office/drawing/2014/main" id="{A0FD93DD-74F5-D778-00CB-B6C73800607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184627">
              <a:extLst>
                <a:ext uri="{FF2B5EF4-FFF2-40B4-BE49-F238E27FC236}">
                  <a16:creationId xmlns:a16="http://schemas.microsoft.com/office/drawing/2014/main" id="{85335FEF-D8B5-60F1-610B-A71636A7A69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btfpColumnIndicatorGroup1">
            <a:extLst>
              <a:ext uri="{FF2B5EF4-FFF2-40B4-BE49-F238E27FC236}">
                <a16:creationId xmlns:a16="http://schemas.microsoft.com/office/drawing/2014/main" id="{5F51318A-436F-7639-01A5-D164976420B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2" name="btfpColumnGapBlocker156780">
              <a:extLst>
                <a:ext uri="{FF2B5EF4-FFF2-40B4-BE49-F238E27FC236}">
                  <a16:creationId xmlns:a16="http://schemas.microsoft.com/office/drawing/2014/main" id="{E168A1D8-165A-416F-58AD-470EC5C9CCA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0" name="btfpColumnGapBlocker959678">
              <a:extLst>
                <a:ext uri="{FF2B5EF4-FFF2-40B4-BE49-F238E27FC236}">
                  <a16:creationId xmlns:a16="http://schemas.microsoft.com/office/drawing/2014/main" id="{24922963-07FD-51D4-1533-9AA91725D7E4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735982">
              <a:extLst>
                <a:ext uri="{FF2B5EF4-FFF2-40B4-BE49-F238E27FC236}">
                  <a16:creationId xmlns:a16="http://schemas.microsoft.com/office/drawing/2014/main" id="{3E219424-ADD1-A95C-5011-BD6B8EFFEA9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810755">
              <a:extLst>
                <a:ext uri="{FF2B5EF4-FFF2-40B4-BE49-F238E27FC236}">
                  <a16:creationId xmlns:a16="http://schemas.microsoft.com/office/drawing/2014/main" id="{E6960B33-9597-B4C5-B7B9-53705AD7CF3D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432492">
              <a:extLst>
                <a:ext uri="{FF2B5EF4-FFF2-40B4-BE49-F238E27FC236}">
                  <a16:creationId xmlns:a16="http://schemas.microsoft.com/office/drawing/2014/main" id="{DDF76836-E03E-9619-06E8-3535498E162D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106733">
              <a:extLst>
                <a:ext uri="{FF2B5EF4-FFF2-40B4-BE49-F238E27FC236}">
                  <a16:creationId xmlns:a16="http://schemas.microsoft.com/office/drawing/2014/main" id="{093E5B19-B22C-7F10-CD12-1839477D5CD9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447139">
              <a:extLst>
                <a:ext uri="{FF2B5EF4-FFF2-40B4-BE49-F238E27FC236}">
                  <a16:creationId xmlns:a16="http://schemas.microsoft.com/office/drawing/2014/main" id="{8BE66655-60E4-23A2-40A2-FD6E48395575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992275">
              <a:extLst>
                <a:ext uri="{FF2B5EF4-FFF2-40B4-BE49-F238E27FC236}">
                  <a16:creationId xmlns:a16="http://schemas.microsoft.com/office/drawing/2014/main" id="{D21D64A0-4849-C1B1-42B6-BADB126DA7B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419329">
              <a:extLst>
                <a:ext uri="{FF2B5EF4-FFF2-40B4-BE49-F238E27FC236}">
                  <a16:creationId xmlns:a16="http://schemas.microsoft.com/office/drawing/2014/main" id="{A08891E1-1F53-885D-E254-D9F9C5003A8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706205">
              <a:extLst>
                <a:ext uri="{FF2B5EF4-FFF2-40B4-BE49-F238E27FC236}">
                  <a16:creationId xmlns:a16="http://schemas.microsoft.com/office/drawing/2014/main" id="{0AF45A61-AC32-A425-2D9B-65119895FD0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7877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519229906566328 columns_3_132519229968449503 6_1_132519231416735211 11_1_132519247474474653 17_1_132519247474823726 12_1_132520412060963870 21_1_132520412061440048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34964" y="1"/>
            <a:ext cx="11531600" cy="876687"/>
          </a:xfrm>
        </p:spPr>
        <p:txBody>
          <a:bodyPr vert="horz"/>
          <a:lstStyle/>
          <a:p>
            <a:r>
              <a:rPr lang="en-US" b="1"/>
              <a:t>Marketing spend: </a:t>
            </a:r>
            <a:r>
              <a:rPr lang="en-US"/>
              <a:t>San Pellegrino and Perrier are the top spenders among peers, with Perrier showing a remarkable YoY surge fueled entirely by online channels</a:t>
            </a:r>
          </a:p>
        </p:txBody>
      </p:sp>
      <p:pic>
        <p:nvPicPr>
          <p:cNvPr id="36" name="btfpIconLines155624">
            <a:extLst>
              <a:ext uri="{FF2B5EF4-FFF2-40B4-BE49-F238E27FC236}">
                <a16:creationId xmlns:a16="http://schemas.microsoft.com/office/drawing/2014/main" id="{BD7A1A58-4906-484A-8C0A-FDF0216A9C36}"/>
              </a:ext>
            </a:extLst>
          </p:cNvPr>
          <p:cNvPicPr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800" y="1331553"/>
            <a:ext cx="391380" cy="391380"/>
          </a:xfrm>
          <a:prstGeom prst="rect">
            <a:avLst/>
          </a:prstGeom>
        </p:spPr>
      </p:pic>
      <p:grpSp>
        <p:nvGrpSpPr>
          <p:cNvPr id="64" name="btfpColumnHeaderBox424384">
            <a:extLst>
              <a:ext uri="{FF2B5EF4-FFF2-40B4-BE49-F238E27FC236}">
                <a16:creationId xmlns:a16="http://schemas.microsoft.com/office/drawing/2014/main" id="{387E50FF-3930-4B17-B988-5242C5716AB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44024" y="1340487"/>
            <a:ext cx="7493728" cy="293090"/>
            <a:chOff x="330200" y="995929"/>
            <a:chExt cx="11531600" cy="293090"/>
          </a:xfrm>
        </p:grpSpPr>
        <p:sp>
          <p:nvSpPr>
            <p:cNvPr id="65" name="btfpColumnHeaderBoxText424384">
              <a:extLst>
                <a:ext uri="{FF2B5EF4-FFF2-40B4-BE49-F238E27FC236}">
                  <a16:creationId xmlns:a16="http://schemas.microsoft.com/office/drawing/2014/main" id="{EF1711DC-C260-414A-B6B3-3E28E4139F52}"/>
                </a:ext>
              </a:extLst>
            </p:cNvPr>
            <p:cNvSpPr txBox="1"/>
            <p:nvPr/>
          </p:nvSpPr>
          <p:spPr bwMode="gray">
            <a:xfrm>
              <a:off x="330200" y="995929"/>
              <a:ext cx="11531600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kumimoji="1" lang="en-US" altLang="ja-JP" sz="1400" b="1">
                  <a:solidFill>
                    <a:srgbClr val="000000"/>
                  </a:solidFill>
                </a:rPr>
                <a:t>San Pellegrino &amp; Perrier increased spending in LTM, majorly invest in online channels</a:t>
              </a:r>
            </a:p>
          </p:txBody>
        </p:sp>
        <p:cxnSp>
          <p:nvCxnSpPr>
            <p:cNvPr id="67" name="btfpColumnHeaderBoxLine424384">
              <a:extLst>
                <a:ext uri="{FF2B5EF4-FFF2-40B4-BE49-F238E27FC236}">
                  <a16:creationId xmlns:a16="http://schemas.microsoft.com/office/drawing/2014/main" id="{4D42B4AF-EBFA-4ECC-92FA-48CFCE7F9530}"/>
                </a:ext>
              </a:extLst>
            </p:cNvPr>
            <p:cNvCxnSpPr/>
            <p:nvPr/>
          </p:nvCxnSpPr>
          <p:spPr bwMode="gray">
            <a:xfrm>
              <a:off x="330200" y="128901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StatusSticker690590">
            <a:extLst>
              <a:ext uri="{FF2B5EF4-FFF2-40B4-BE49-F238E27FC236}">
                <a16:creationId xmlns:a16="http://schemas.microsoft.com/office/drawing/2014/main" id="{8C9310D0-407D-CE6F-08DD-1B024A932AB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25" name="btfpStatusStickerText690590">
              <a:extLst>
                <a:ext uri="{FF2B5EF4-FFF2-40B4-BE49-F238E27FC236}">
                  <a16:creationId xmlns:a16="http://schemas.microsoft.com/office/drawing/2014/main" id="{D9E8F4ED-B0B5-CF24-BBB7-6574CD2148A4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6" name="btfpStatusStickerLine690590">
              <a:extLst>
                <a:ext uri="{FF2B5EF4-FFF2-40B4-BE49-F238E27FC236}">
                  <a16:creationId xmlns:a16="http://schemas.microsoft.com/office/drawing/2014/main" id="{EDB7421D-3A93-EDD9-8990-D9BA6C62551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By1jlcdSqZniJF4H++wBqtEIlpCbszZaXS/5sK6n5p/WMio7ozJcG9HGjMN04/F1bmkYXKuj204+brRQ8M1OppinvJ1ml/1KY/+VG0HiOgNRGYkaapMd1OeoNlEkwTqUr8CYLsco4UTjWKr6Zx9fqdxg8F2zrFjDyOpRTJcwdtXafpPEhp6vXTu3QXNJwxxe0anr+Nqln/SiVw0r9Odp7UAqkxoNvbU3w9jN4fJcD8wk85tDJFc/jluNDwuLdYJqkP0zJtjdjadRVOX8PA5/34VRYcshqWTEAZpduCkUwb3TVXWRPv+yQPUr6+7ZDiJM5UwWbaAq36YDvMJhbG4hWzM5RPQhO37iyZ9dOI2Galq+StqgHEprB4NWe1/snFcO4REf2X75+Ot5dGgjm3/tvyXfykPQqKIzWoS9StW83JMYQeorg5rUu7QM18D/P9XFP3QtmnhrJLi6qM63TJt/Eq7pWEys+4oEUcHKKnL+Pd1d4yG5ugasS0afL44R5xaeLe5g5n2296Nd9B9KXfmDxojNecFgjT3ZdIu3VYj8U+J3w0L9SxI+BQC4tahLDQUXUJV4xiLgwLd1eqnc7inddq9SkQSyd3zg8KBL4aRkWiHSA15ZlMoYv5K9ffOop1J0MYsvi2AZJmQJ7wyIuiUPtL0dGE6MHjDhlIurbhD6qJ5SEihpJ82P5qul6jokf5uhI//FSM6D0EQrSEldVuay/jpYBhRNatZAhugguyHOyWQ3Sa/6vSwVYLTv9gm+csLAwk5lyV9ikOeGjJvIALD9uiK/zDliI0TJLEPPcLUv0ih7YprnnEPejlSWEaXqBenrXjTUIt8cgfaxWLyhxGLiMw0vB4Q0Qd2FkHHMviop8/o4YOonQ7srevknaQxL4M3xTzwr1TIE2EaIDok5gGyX0WAbu7AS6LguU+k1a6ZkevY0yZNKyNAqyY7Eon4VsCSEwOHVi9bW9xM5qg7iMz0NatTqdZOEDzEYyX/ep4Yut58idmOYjLN1oyOXeJHYgCgY9eCE97JDvOl8LJVm/OEgckKsh1ivHLk5lhqiiQBtf3W84nw5sfUrBq47iyaIUQr54t1QexVwqqQUmF6HccRT55l6AOxiOQVNCXCD6pjRBk94rUJJ3MQnB1q5OShskxI5zOKmR4csMurv2Ub7lb+qGZTE/gMbqB+rBNeXbNiMgNnVPhrK4Ue+onJUdiKERahVjdn5hSTW/oMOO5vaMjZyGYyDNvkagvuizkxLjqxcMegYXbh1JnXC/9Z1wJKTKPnV+M08g1z5SHub78gTU8v5y5SpAiFF9UlzCAhxYWWxxaNMOjz3mD9cFi559cuDthyMz00QTEpP6qvhORN8ihtwzdEhS6UU4caQo/oMbkxgvYxbeXpiafzedmEryGZJh6JGcNb8XaCADsTko5KjpGyytVuwf14b9WMuuT5L7SxxEwT/bZJC6EH1r6F6C5f+c9D/bA2bdKx3ZvZeBEDAlw+SLBAQdYyPYd7RdW8Qw4e4PIkfKLuHXOFLrExJfj6Tx/4rFZxWIzaN+Zzu+1+3WLcsHubdCdGFOCVyWNpAPtaAjq3cg2HfHpibo6x0mV2bNqgRW3OLnpL9ykPMn1lyEciwqlKzj8DBv9VR6VKV8I3pqC9Z5clFCRhsi1iXjAS0WVo+KW3DM4LSXtd/Px8sE9ECLqouIDPNZjIWGoH4uQv5Moo48aa4/qO78ATH60tkJ74ZF3MJWBOx77IYAGtqMT2lS88MKLJkh1sRug3DojC8fvZ8Qh4c0Dz+rltAR+Av0MoYypXCOYy9vmfhmZhN60nO6ETSdrg7spMfE51n8JHYNrnGeFgX8CSTI/7rgJBe9oIt6jgx7UiEKQR7gMufTd5ezF7b4N8i2WkQt1enILbyNEA/gkObvUQLtQpGa2MIz7xGVf4999iQf+smICbfWhHDAf2KjLtYcnegyUO9FldgzP63S10FnIxMzBylOAirNkgHgnw1apf2seBCPNx3poxtLFcwJ+26sA1c6Pl4Lyb6RJFyzuT9/mwzQmCMOudN24Zm8fv6enG3GiyBRX8Pmd6JR3sNyu9KhL3jFbGOMGotCgISeVyqsB3INLZRw7kSUimCSJl8KIkAA1Q17m2V6UhI3Ych1xHRgNoMzuDKQklmzhEYSF+Z3EmW0r/zH8J0MqNom2+dgG2IPfHboT26i3RbG8ReD01Xgl1NdKQNJlDoghlbwVRpZG6744V6Mvs0iActqpKZNJ5XrWSUJbhDHsti9/G8YeQshWiSiA1Ta0PgAI/6y56pT9XPUu+IsTWneOghEQa+8DiLzfYbz6ZZXCogIYJ8AnZUSCLL5qA+vxJUQ9ybM9QwQfdqcR0pG6PLvn3d0n4Up0N0P8jR/TyzbmqMGsSBTI4uofW1hVSPqdV6uUEiRhaU3eZZunvJD2vuBrSyYVL8AoHmyAyKm7014Z9Dgia+cIYmf/RNwPBsAu4Q3HTJ58cCcT2Ytaf5pldm1Oauos+U5HfpvDjBMVRed0/XRNPU8IoCjN/NzcBuB7f2rtxN6atlHOVftgsIMZDb+syrWYRFkigXI0COm98/Ht0/0qlQ8947ZtBihFtB0V0S8NtHIKOKLDcQxuAioXX3XoDagtjA0vo4XvQ6yy+Rv2YGzX/CJsMSIWjkyMcrY+4HPFDEFHPAdRTYujyOTZ+REcIxjiWl1MOu7ojgFT4m0caLU3RDXQRPJbUk8b9efNqUCRM376PgzJjkLft6lm+anmFf7SrexWvUmzpiAen+bL9+6H4jjZcEjrmvL6VFjnjqFQHEL1IQc/4nJCIm/9uCIRD2ZsXlBfQj6cILtyls0JmOz+gEpqjrAiiCgAfXLLp7XQLvnUtuEzfoavTAxotZbOtCSzijxo63XjC5RZ2vu/6dBtgHxMCfO7HjtE0C+zoy3ZTdh4ncko6vkRRrP2VU5gmp13h2e5G2EZMNUVnTMv2PMA5tdLkI7wb8CT0NIYrxY9reSYxy+6enW3Jqc2JIf0JyboJpkAlG5YOAR9nGbQYM+UWB5O8eqwziP0zV74qSha8ZnCjGHzHfZkzTHxDKZr09ELNoShvHmMoKbQ48eScM5s0zUln4lCkDPLN3uOSEc9qQemCn7x8PTovacx98JX0/qOVDVIt6Oa8DzVQDvF/BCW4p9qzDkFecfppyoRyh0hhirO5QqnQfulVnz5oKaA5JP37pQDXpK+pkky4d1HYk3khRvGYAvfNej/l/2DdxkxZC3VQ7vv4XoMSFsJ6o1YWRg5YEa8p8IGKN8a3oG28yiMRvfiHnUyWZ19ZpW8FKEsPdWf5PPNp8wQPdlaEG471ZjDjJBzV8IwNQUk00K/9vw+HF+pfFginub14VJLEKmDof7oXAesseYdKAN+OtteoF+/4pE82cL2LApAwJaRg12xu7pm2MV/E2utJiOSQZXDsylX9cfYhYdJ9N7pNo2tKv999XTHrX1+dILavVo+48qVl9xGdScHYFDh43MKzjx5EiH2jS9H5vU280y8SuBDsLrwtfw2e75czD69bREHJKh5FuMV8TU8yqNstFJv+Tb2COZVj1pzlRJK4I7Xh160jOrAxcZcPxtJyStoi/y4jqg/P6sr3ZQ+GcQDDKcNybQXQb1T8pajBpFdoTKBUte4ulwz38uTKa2cR7H4qieFn1xz4KWHKrjZshnxviLz2i+WP0yryuR8ckYlIl375TVEanvVDRGtcuogteYHrSG/LbVOoqNg5uXXxb0Y3xA9CAzMEx19WGk5Y1yDHwHnnt9PUZ3ggNoNDpYKsD/WPAl8yIIzo3Dwful1vV0WGVxijgg1oYdp/8QMGVxNTmxFiKKqVOq2o+c6OlbLnuNjMjzV982MEy5jABO3p6VOLtL+A8bcPkZsYca1ptWaUXtx3qC0mlu2894e5c3HwYTJFQvOKaxGaCKksbyW7iSgrGzf44LdpmJ5YZ5VdrHB2rI/Qp4EEYN77q31YAkImhMBs7apBTx6SR51TlOftvIpUcq+akxeA3PcW24QszDYTufxEb27p8zvrWyTyYT0YI00aW4GhAb0Lrc+m/RdTzh9zLF0OnlK7RO9YdPJ1r4dhOj2+JETDhHpZri4VGKI6/rlgg88D3QBzoO18DYh4O3E2cftqo4zWZgLw63xemnHV6liuhtHNqT3bitej4V9baFxJNaiixu+Wpe+pXD2YvzHKB+0Dis+Dv3hNLlpy3MLoH+4cflJDGBQLcatbQxW9AjQxBcbumUOGwHhGjoR2IUpkEVt4g6TlXYBMuYuvybNKCGy18ePMzvPo8p/UwHHOLx1+gJv45TPkAP+kaXHYRZ2NgpmHgr33OYQp3BJsgfRvcJ47WrMADRPu9Z5dRvyqDjjvPMIf9kPI4Z/QLx96VzIziC2AO/Y2G48kySJdxw5RBRQBIsOIQAIrPB0feyVmznJvcKfSvx/7Ct87h1i5Ojpu0IeZ7K/YnAUfOsNkN/Xf5QA7uAAUh8GDqa2YRSrlPUMixuvqmXKq+VIIk4G4ufMsxFz/fEPt8m3m3rI6279qAElmYjS0+3mb64neoqutASP7zstYEUrUNla8qPym+qaI2MdbCMRTMbvJU12WugwJw8QK6rApzKWc6tJFA/ZCKh0FTM+R0jz+o95+mUzZpMAwjOLM3YGV920rmkupjDdY8TaOA2nTaYOehKH3MJPNR/lsmnYTzE/cNanW8MBvcdd5OqYUphboyMOwAgY0bzfmrPvHLsQd6XX7sNZN6hn2lg4kB1gDea2ZuZswdr/vZe1EACdWKBGpwwJ4+55dXceuSefCVdBekr/z1FvDFehRTGqOT39sO4hHcfmPgjiCymEuvU3kP3zeP6BuOIQj1GIFrg/0/Uug4yvyvrO8/dXMDHmqdpFTKIIt2JPoHyG033646uR+XeNrlFIe/7TRke2oWaLhGiz/mMKDyheuFK36KMlqyTD9iFa3h2JFBuVF/HuebhsMX4nxK58JTVCyMzbPNfNpKhR4OGaQs+g6PHMFtZriX0iHnc2XVLN/qaMBslw/qW32w64SiczRkmRLyxZpMDh/5qIEroQVBit+UVw4AYLeVv3RfEB0FCifjNIovO15ZrF3jTFwg+X6pw1ab2BvA0wQA9b9l/CHvbcUWOXpIZ3I43PKVnuIhYA0BEsssptXI6oswN6CdW2yrFH7pONDiObgjygCpTCNsl2UiaPCedlpl6eSKhw/7ZxaOfQ3b1wxI3LtmZEd+O/ecS5VNE4Y7Uqgmn+BEZFC8/oJOqe1w2n4UGJE3vLPcoH3OQJW3k/5vSf5czlQJLeFneX5OsuRjiyg/F5eMgiRw03GRw2P1RyMJcSnFfDdCuo1UxKeKWIljvZlvtszle/4qjrqjtspfBCAY84FGoZuEt/egKkSg5DmHEqJ5LDfyRzVASNalkjs6s3Oj+VxT7itaHNhL+tLr/icSxLbRHahip+wtKcD9n+BhYNeB/3sKj3STOuh80/4e6eUvTVNt8qeqeCOzvzF0z0/ftiHCrFG7TKy+HDWYIJFY72KtnMdQp3VLGs0q704CRmeu6FcjAwncxh0kTY87JxgpiVBnX7m12jYtOD9kx2F+/I7MhL7Z+4Y/Czxj8EG0xjXNwa97pUjsywkhUOqJgJdjDUDziUBM2s6rYXwumUOomYXOUYNSF4PYsfUXWMEIHpTznF3FgcaCxU5cKokoI4A4/53LcmMyuNY2c7D96YvGv3ke3OixWjZnCyCn/hFau9s7KDCfuOZZeT5bcXjpFmfJJLIhGLFg4Xgw7aBhSG46cIzJPs01+mtC5uMa7pQMXn+NjgSGeWiSP/TbuxsfrgnfxJBGVyj1TbcuO4KM2xWMPW8oc/sb9oLzKRlfHgg4UDQO6118rk4XG8VmBGWHwzXtPZikKyblFF5akOFxNFXp+aIb6lTpM6Nw02hS9O4oHcWioXVO85SnPIkyQS7baWZ/pTf0sVwgyne4HUSlP4CsUvuEX3AjwJutXgi9LRWBD39hmt3vK5LqMlfzblOFPufDwmAo44loDQf0LfMDuAQb+WLnkJL5VKx98x2IyhPpaZLnqco6SENYFyQi4kOwkb1u8eKJ8D+iHmDTqLHwRDzz88o1xk9JCMovlX6CPvtXbkevrVv6BtKT2z1/IQEhfBwanW1SDj4QgCRUl46rcrubUmmpz1ZaCO+wOVFZO2axIl0/gcLq+RV3warzqe35H+RGSlYT7E5/TfdAtcJOSaW171DoEaCgOSDZ9OnkqfwElHVWP2YGRbouQe0+1YHlCrz2rCtKAZZcDXtqMbYZ0s2/45AtdZG/WwSoH24MQlyTyfMmitD1DxrkRw6nILVy1FTY0Hzxfo9b4a5gJLi81zCW9W+bwX6Kfbh9VMYA+vpsoM9SADATUX76Li8C491KCf+LZ0hF93lUECEe5ERsc60J7a7gWOp1dAD2o5AmVYZYn+94NbrKcpbnDAG3PUsAbfNjwq2dlphJsxnOwaU/tCVOAPtpFg/cgXo60QE+y3Ht4UhQ6h6PkV0ptcJ8ynDR1jriiW+NzyDG3vS7l1yq6FOqQPx7j+hJaknqGuhMIJOJc7KRtxttoynXnvmaaEuwBkHk3hvGdri3cjzvtrH1B/IAxhOinZjU5Fmc5Fg5ce1OmzeLbAlc5YWIMgkvqSEqGRUk00yruOeL9h6EOaNKz8aJtnfs0/ZMRON0VNxeymC6EdlYTkT6slF1f7O31IiN6psJ2zAtu4c/NKCglknPU4el2tgGhX/85FERsAlXNYObkvAK+MCNsD2SPpGQmlnf0tIPt3k4vxso5e5s9GdMZejiHXPFLCIT+tc7FeI4oTTqeQAMc+D7SkQ1qO3HUo71xALZl3fB4xxMzH5LqIb796WsiiOW+vY+1HQbp7joDh9WmEak5+Kjuot4ujEzAd0cGk1n5yylt8lETJE9kfT7+KDm9zuuTIhafOonXJUgf5f6oFLy5ftTiwONzFtPY8c9ysad77898aR9HwbKgC6csE7d7y0AiTsYxzyf/JrU/mbbkSNlIYkjSf+3omC/72TzR3GWZf9c5R/k7dfuqfpnhiXeUKSogpnUohy3B0bGrmdH/4BLlid5f+6OnEKAs3Y8zgWWyKfLbf58GliKwpC1DxzJL+v6mvavhZvtICWEvdTDCNbg7QS7acTZgUh+LaCUo29Dzt9zKiwNsKGg7wrXhDTpqoXeoSjyG7wwKBOBIMlvOfUZen6Iji2d6aVSK0fQnn4jAZXFIC+mcRDe3iSPtYTI2ox3yKdBbJppKcqI7HXLASPWx+4KXeNk1bR3TFVopU3q+Djzu5yftKReOHJjXaDrt1HpfpMLp2mjjRjhSIIpakLMuw+DkMLKw4jo3wmnEfEHIZg/p4XxSTb1b9HdqWw0X9+sYWWqlkMMqW2UcJshdxNm4j+ILNlpf8P0YxFq98bPAPI/0iqAToijCup5gTbsv+pdA7Lyo27DLtcZV/JP/K8X92xHIpeeBJdiOXVskBcJuqAg20A3ZB/uqqPwVuzbgwh1g6X1RB9u9soPf9Xdmjq+KXFbgmXpDU0F3LnDfiZL/+F1RKbgZKsI/ApVARMEu0/Jf6PsWsZSWWQ7lY4nT3vhwkbot+VOeAKzb7DxQjcPvO6V+rHijdGO6sQg+x+9MG20GNJnepvUtFNZm1hdgDsSfMnRkCD3zVwlQeYNpLv4rBHqJqTGUoxj+9Ze8CQk8kvpXHvz9nNEp+spb+SrJNNOyt2A1iqog/asKfzVZdYLHjOiJPKQNpgJrcunJ/X/LmWj3hW00K52FIcMMs7LLn919qULhG2eqzp8IBKV/JDZQeLS7XW3doVyajObGIWs4vyxj4sAQn7km47P1LmbNVuwfcUbRoSZOTwlOpiQiqiEyLVI3LigT+46eBmHXRWKpURD1tTFGUhA65M4jM5bnR1JmSizTvveeo4MLzKPdVQYRvmX2wCAfjr6QMfLe9hfFKezXlxiz0gItXgRikBqa04HjF6D5g7uxTCSIsdafZ4EOUu+fnIhyx065+93/xlZIgDNzAnqXHOr4BJNCpCU4Bnt3yvgBXRmDBf0xBq96P2/JS6hMbj44mWJg7h558MygW0mNjS7g4MbicCFOYhmYtYTgAvWRyKEvO3n8VzgNIwIxfI6oXqQoqFkK+WAeWpe85a1CA/7Kq/kt0pGi9QYcRR2uA4myAXprBIXnmTtQlo2IIb4OnWikSAlFoA38rnuAqF06sDz/D4wxwk3MHNRaRduGa41CkDUBR+k2p3u7xWSlmqlnF/gbghG7xvuQ6+5O0BdY+kAOc1t8SrrUH/kPvu7S1Wmubqo3PHhENlPh/LtljBH/LdNqyF7jgOGSBNcFD/5zjs4O88u3U7Gob2gMMebYih0I88eoVXnoOF0UkteWzFeSswfmQoepC4YtVStjSOQfiTKrcpaHpDc2JaLZYL8L/8MnTyfsFFs3h6wrHxiAN6dUJM+wBH35Blgf1Uk4SpU1WjvQsFuixsqhTlOzdDVqvBxeXUrWHt2bOmgM8y5PiIiscMwvp9ZB8As6qMxHBubvJ9OVLBZdMiMtCIzmhzwTDKWr8BeznpfSnaqo2+aGfUW+4EJNisJRFJQ0AYQMr1t5kg3fMJknblMTJ+nvZs++z9obVVeJUC+6BE72vy4i79g3TumXnjDVdRw+A7yeRJH1+LptIZlamqSDM089ryxIRpzx7mY4ZJf7xHs168MElU5CYOH29kqU6bLYeeftdjIyBYXu83C7WVV5XBqtbAEPvGQytiFUnkjnLr4nm8ygVZw1aSLyZ8IdPNoPLfbmMYtGPXYvTbH0lhvdKUrRXozI0xYApnrYBNFGzTWHwMhffDfjr8R325JVpyLHpQ5jlgYejoTG/9tA6BkcCVUhr7646c7mMNwjGUg9ujSyxVoiLK5t8frHk4ec0p1+2Rpeh5byeQqXK4241bNe9zqE9KVLi9nUHLfcAAK/ZhZukpn1SU8I/BfZCDo79oZBXJoT2ruYKGLhVMKrbqwb2huSpjXtBy6noM/h7lo/auj+O9RocJ/c2FGm60RGqJA7ky5vorqV9WYeDEdh0ZxuV2i9UOX06lKboaMf4OGO1JG6ls1Xqyx0vNH3SPhTjrBUbj8+rHPiGm+N/AEZNfZJXqW4CycEl0j2Ys+aKx6EARFGibusf81yKheji4Lw+/h1clbjWHEWMlIqN1ZcsfdzwQz0+a/nJHnAiQnl60wNpK/co/ZToffMjY25FnK2+cVy7kj8NkUUK4SaqjaNqE6NWVcFTYco1HHYxq12Hh8LZigQOsPr7dom3hzEjfIYMAbKViQ4gE1V7uTlHU1pGSkkStYqcqOdDve+H8PhPDVBKaSarQ3lwAXXObIJrm7FwKy0C9yIIIO/u4h1DcF6TZUVudZzzZZROW6ZnzVj2VMMuHmjZ8W1mUXEUmfxMJsEY4reOZNLyF+YrPA53KKSpqA1c8Q9nUBhOO0jw2M8dqLrbyjPF8K78YcclFF1pmbH0EBiU+8o/wFaqUhev/1qcI0K1n0PUbPZ0d3LAkaqRyafU3hQVJq9+6E6BiLB0oZUkUCivVJSsfSFNqYcXycduH7yYTjeyV076C3O3Mjp9xPrSoTqWgnA96UE9Qfqo+AlhwN/2yEs5oQbkx3HrKFztu0XqGSNUfZKak/1MTw+FWLQ/51DLj7nNWP5mQGBIMuKB7UpMLfySBd4/LA3OzgYw2+WgII1Z1XuquwsoD7oelJI0NTsYEPe2mGThqhO1HqkMn8nYxFQzXS0VD+sVw4bVGNEohdqReLyms24pGlW+5B0yRKoS4KUW+pAP2srf8oZymFXcx7PmiOIVPrU1IXgnZ/tfmYXQGsJzGOF4MP1Iz/3C6VGrUaVOiaiQc9quY7ELtGkSvSJrNDg661dl3fq/rOIbIZiiMWoX+Pfpr4Gn5Z4x8fJEX6yCkyyj8eSxWsNqw+3uOWqkUFqE5eyFyI3qnxMfrCrG9mLc7gSCREGUTC/yKgIYkxlSaJpdjy/NK8nyfQu7FAjRqDPH5uBldRChncFTpvLXj2Ki8H1Jqj//bBj+MQhyWo7CY2bFSQmvJ5bIccIhDvNsAXtpM5tBCKVgtoBWWzjTpQXSuH6/yPFPBUpz29O3EYjyk0sR0qafIFf7iWkYXM1o1vQXUb9o+FxPExFE9VfCwKxrG9znNqL9c5QyqxhNkAPDCdEtOu8Okjn2TfVrPJnZ3RUOhEq+e91XxgGobxH/fYPz2Ji8fTRUmFpOmE84DISu4MQDB5ENf8jgz8/kLLwLpZJmw23J8BMuq2Rk5MYQ7HeBO7BxDRqyBq/IQJeqDhKVEs9ePCZExqXccyPRZqqgjjz21e0C7cUmGWrsxegC7FFwDEJsRaGFW5jHFAIyRBdoJ5ELjI+aw+I9BXWkyTw8DDmzxryHJVmC1hRuQ3XvCgtGIU1ILmciaAzPmoRo2RSHCduNFYAybk+99sb/93kTyJDsDx08iji2WMbcf0syAaqp9e6DDTwx6XMSlM4P/QnKyUxA7PUoYr/j7MHNufw6dwc6KjqpbQQRNl69S86dznvqOpX/WQBlKax7pnnZgtNle+xc4sd8cclUsovipIKe2X+pFfaRN9IESLDVhfEIIrycn36UA+JwmELIE15IFKWcos13+Arr3TNrW6OG6/ENTeo8G3HuFOwdND7Utk9bK8chGe/XqtHntwzjlFi8jUEyRi5eoLVRCt81BSf7XDXG9/pNd+IE7inWg3s5XS8Ub0UCoaqnKl+Irt4P9KvMdpKQ2RgN5c+2MxEMA2Do9bOllTzrSF4LHeDaiXY1s0z4KVwpr8yfr2bkmJpZF90Db94hT3CPLW9YQoaKs+BeHY39O7UAyJ/buylQFnBMUkiZYszLHX7O4pwTFw6zbYHb2VMsIohBCs4E4h6SL022galta3RMvlJMFLMCf2TScHtyqAWrRUfICXtgpOuwU8Pp6FSP1L5lbGLE55Gbgw5PpEfTZ5Tj5PVh4dUOYRugQBpBehZ9NYCBU+Il/6ZmYW9gx6T5CCKcs0w8lcpjLJO/cROTj3B9aVPZG54Jer6H6TTYVIOI8R/lmu8KdglqOJrRSsgOaYCVAIRWAMmROPNuGqRjXt7XfgwQrDm4iqiutmDjbmrcVNshdR5qRM6LpdoQl95feOdHdgW69wB9wMKhEOmLl6GNCwc3R7ZCXMbhEC8u3YINyS3kjMSLNTFXXJK8y/KolRAtiS/nd7ZdJGr+G7vQsYlh6KQjApCdPMsNSy33RVqszqglnMl6YUoOkxGbtB2tx2oa09+LQwRooMy8bhHpbom6xuWkgzjm3JHbqY6mYyxqS048tJz95QWmm2lrlbMe2oLt3Ec7qIgQ/yCDJ7ca5yqgRoBJ/JO++nOh2jRxtU4dHQSR10OsdN7+TAaGUkoIGb+TSluVa5SmxxvIRXUbVQJmEB7ucwGTXwOCwDgsZwwo38x/7GiE4vsnKt+j4us+sm8v9OuHecVJYD8QZOJvym2bPjaRd/EzEKOVYwFqbuuYSC0+pL809dzxpa8G50tPLDQU5a/dghRQ30nDlV3dkek2Sy6aXr1Ntedqy2g1Gzizg9W+XK2B7Q/3ycCLSdLwpbrxDpK2k4tXd3nE+glhYpvNhO7/TppV9ixmK2402WJSonrMjsYUdBkvjK1XqBRkFeF57YAClRNKLXqwKbVjTTgN9m5LtOTxMfR5q4pJyOe7wV2KoawVuF41TT7js2NNI1qSL7hrwF37ezIGgwRJ0pKMEhIFYqgPUy6VUvMI/wmICNdQPo49lziKCb67eMFngGcZoomkQ7ulN1BmRBRcDNg2Q69wDborTGIy1phlh8SDhG3ct3mQD9++/OFhG0tWZ5tI2aYKSKjdi0vil5tSVk7nSHyAdSZAefhFVTdJ8lRxW2oMaJsBNZaKVSyRhN8jcgTd/YStXNhTDCJenA/yicdrC5O7v+u9KtBKx3CmVXRFZH+SRIMrddB2VNcp/iqtHpNojEmYZUDWWnWdkX6A+7pk8TUfqgQnA5Nda4NausXfFV5DfJ1cNPIVWYmWM8Bk5i/APaHoaD41VE3gRJN1CsJATzemYv6jAq3VgV64t1TafRK3wS+TvhbosIA18Pfh4VCxv24TYFWSf6yQDwXzx0EV0v06uBEIYTMh+PeUgqonDvkX6aRD5lsf20Eewxb5psx6oxQBgW7l+MyJrpC2qYPksjIP9YqQixRliYIK1VKFMwYmt4cterYsM5VspWSBbnMxM42YiMuOg+UXb8Z1Uy0+bG7+zcEEwMJLtDvuhACZwVsdMZa79y1iwBeD0L6PvwVjIC80T9CiKb9RG/cHCJC1doBbVqbDJdBi1XrLauC14jG6LTh3r2MlnyFurj9Cfw3N8fjvt/sU+6irWwJzMBid/T0ZZUpk+uaBp1sCYexYkRZBOgAzaE03dB2pBGEqR+P5sOmjRN9maVG3wxOFXz9VkV6kRFZC2oCcfhu6iLvtigf2K1QD3Pjgz/ovPd3yTCmsSdKOUpevg331Z3jrBpCTTAWfsJ5tWLL7CpzQolcr6Opw+vyHpYueyRWqcc/SKUET1AVVUXuzKZE3yOfZqROOSWKNKqcIKbmiEhAbMqs4fHjzy5sw75nuqM1bvkwFAteyZ9HDVsoLGWGrduhQolRM/7hqDnPGUM9RJTMQZgLpS3ocecM2KiE4uQ6Ag+zqdbxxznTCKNfOFsoj6TIKBIRA0fy2YyyJRbNaFOIixy9an13j6Qw0pgeBbCMJJ41YmvquW6Z3C4Wdtpnx5+/n+RGNSuGCCN5VXqY/ltbGPYeTGeCzyBegLB+ZWBFLwt/wIOrOPKI7QnVvRDQhfobSFzPqLeTcecfzoeCgtxbXYMhOimxWzhoJBNQZrLavfTnNGWko5POlwh3fSLyxPpX7Kxz5VJZwvlguumL76wtTa9qUwg+FW5m4G/oKLhr3til9bdjBPuqN/0fyHnhW/Qz2VQpxgGi/D5yE4SGmwJQVr6kIJYokn2A8RKjNL1cFRDIqOW1ODO1XsENsuc1BxleECfU9y0tpTymeKnZgspRW8HzukW3ZiVammeaUiaD9A036HW9bHByhp5HTeRR2OhxCwCkpIFHXAXIjlW1qKl+NVGyeIDxs3WRxOvklLQ+EE2b7uOlj/f7f63I1GsYzVsJeQrgA9jNFeOAqDewhexM5mlIrA/Jb/Zq+wFPHsusr/RncztlxlMQxmPxSPiGxYu7PCi+CPJ2NLbx8ewYAiYcAvVLxu2jIHwCRU+jej7HSy72yiTAnmAetnlOD8ugwY5F6JQWuO6CNvuBBdW4jivZp/y4gsTpT0uAIwqrVzsK+TLSu06R3yV+aV7ifooIMg6hP/hMC5igrXXpnmsw20dQBm6vcLsxdWdbqrQScVtuf2Vl2S44EzlsfeutH4+7QSY8TnuGok5WJUhhM85/cNd7C0jcnLHy5Pbp3FYOusg1nmcbqLF24hgQBu0lUZ8cmowyDSw5xNJxMBneSGHJK5rAImdOk9dlgw80yefpVfqpPuc5Lzq/fx9zSLuYbZGvrm0aKBGfiwTAs2lufEnZsSV+Jnbs2+cuKe4LD9J3/+wpqDbBSknkSLdQ+b0cxDdGZLn5N4ryjCC1twu9NAO7lKdMYR2E4IW/G1giO/v3Tp/GPp9Fx2c96wAjInyiQ5Uo8Qbp43Xyl1F+oprEsrUz3+TINJQwoGiAgQeDbM44cgaVCH3mu8rs3ccU8SQ91B5KC3KVAVcj/AHZV3xJLSz8HHb72Qva6mn9Ko0whq8edo9Mbc9R2KY7rMyi2LjDRvJYbsyhwlmHDsZkQEgPTxyNdwW3CBsaabUvHUE96M/tOg+XvbdINawSQlqT9T51vdjMim6yjFauTN3zyLVz2o2VRK7XgThd5EAsNlS7bXo0MlmWv3paf1kpX+Jkal/bBrm9oewbugQBxG7kauLcHw+nAjiLw6IJBs7B3mvdxcB8Df3OInQenSypHunWo/kZZ4At4uLVmi6oWcvZfQQeCS2umLx5SMUODcmM0g8xdK8TEmz6vIipmmU0vG++bL2YDSeuXKUUh7JmOai9f2lnHpivC+Cjl5eLmmXsxx+Tr9+XLM+AXlsgGxtE8aGKy6sU/6QozM5TnJPD8shvqQiJV2UHvM5bRfCQfMDZ6pYKPnSBsjjcazBfPA79UHTV5MiagEPA0rweiKajw6UdbeCRPhifNdu12rN2aGZ8Fwx3/nHkfBGIMZAlgC51miz+riBamsptgUa7JxbhKUEpw7/ojergoCsbrSD9l3EGmtlILfbvU3WfC0w4Ccft0kLgUUkmLpteZXPFX7ElzbGt4IfD++4k1xPRepyJ6U229U9soresT6l5kwsXDixiPpUcTi4fMR18AApuF72hyWlEA6nkC+q+kwc5VANFORTLaTu+IIj8yB5fRVxCazPRFx1BCqDdl4C/3/TwkSX4cGsE7zVaaInBuD2nDUoITWcyZpcE0HblHUFZ4GLjDnnfU9qCbzqZPFWdcKal/GwNoYgVQv4GcwMel+5nGJrUpXW7qOC0fKjDCdUb7I5MI0Rss1O4BRP0YaJAQwpd0qk5bEPbPs3lFMJ62bPty6vc0RYcepRr6661gTwXSlpRnudn+G/ypAmpt38Xy7hEhsxXSqTaYG3k0Ymhp7j89R31m5fK0ZvO+JRYIz520U5ZOmJAvCskAKIay8O2llaMLalaphnK1Q5pLS8paKpDQ42zGNp12PUx1zVv9/JrCB/KZkGV4Z/du+4ceAHHAQ7DtI1RtVVmbxS/O40lvxrx4jqG893iXJsdmJKoxIPFf4XIYRFqq/WjTYDozaY//cB034SWHRFClbW9wLBE8rgqyPI0u9bm1M2aXkReForj2mvm1Ib6N68Ar3h8Rj86CCYUNZa/KgwlaTg+b2Ab6FqAlFthC6t2U6wYtVovLjgZiGMKb3aOmcrDC185XzlBvxUCiA/No/uUoJ3yK+HQ+Rul+pynwhYVPu56mLY7Z6A6VUC9hqEldNn9igQ/6+RXZp3FnfMMYAEJIlty44T1yQ350X1cEihAjxeAl5dbvIo23wMvJkc66/4scnq8o+KMYDDn2EfKJRlNfs9gGSA9s/xhpZLvEYRuQBsFPxsecQwVk0yCbOHLZh/cpazuzQRmTKIKANELZy35OQVevhiwFs9R9UnFnuAc2w22ie7hdTPoLJlVrP8b4wISVbGDuWRJejxIz6QBPfWQ+y+uX/dATmp2dfNFXQ1Ovm4VHUr3Jy3q+aWpnDAml0gsIMTHIvmG+6gl3eNjjfnpchDK1qlntZDoRdaVkMIqQYCgyuFO2/GNq0UDrHXfVh6TSpdaP5QWqXPEv+XqHvbHF4TbRsekTNUBbhwYZbQe8XIlyIVP0EzJI6bFyHVZyMgKTlaMQy9cIAYVqPnRNeSfjqH+nwO1rNKEHZH2egKRRRS1o2VQ7TRLCIIrbkcUcinkOHeAjiD8jEhHDWwwi8SGfoeF7p7CSEZKxRYfs987FxeoLoOzF99nYyXXwq7tn5uT9UHY18d5jKK4f+2Ansv3I39/t5XR2Qwwq+UTnVWdbCTgkg5Y/rWRz+97AYQvMAyJ4b0jjejVheslxqM7Pw0Ya7TIUxu3K93v4LDY17b9KlXiSJZDVyUHEmkoiP02iKWEx+CkreMuiudR/f3AMjCKus62mo5PQ8aXLIsAdmcJPTXDsjXEi1pSRHjb6+U12abCwfbuNHIwGP+EZkFn+eoT88n7rzZI4Mww0P6jQdxoVwFm4wLnpSpn9O+jlpR8hKd2H1xdcf0F2Bfa5GnwJnty2aHSORNql6ORDfGt4103vPNj4kgM3+gV+QG6e/MwMMDHEPTPL+/d4MGFjazIwllBk/olWa1jzr5Fsx51beGbVpFHffxhHrQTGJ1LGUIKSUOa/bE8uO4YzZDA5rZbW3ZU284iT0P4Km4CzTfAAJ6U+FJmvKDKpl51FlxgRdY9sSVQ6prXWaNrMtHMBU4vgu44F8nLRJA7ykIrp67QZSFUSVGimtYcl9GYpEeALg1dVnqBGWACoo/CgYqVIr3O69033fe2QGB7jzONTFJBL14UUWNRo9dGJY/EEwYTHT3IMJ0zrfrZD0A7lE2Kzd9oZyRhKfrTs5m6UFnFzkTOPkXWhIHwOzCeDeLumFATA7xSScOaZTGHIyC1XiRKzNJgZZ3EnzW0jwfcNSBzXQ+z2tey8Y/6S6DXULlveRtd2K4chVoqNWXwzCAbV9980E8KWDsvzFrH0qh9eDydJz5oJJIyIm8hCyBoRLQzA1PWseI5zXZND+FzFIL48EU1YVlt/OJIjtLLoQJyXXW0BgvwfGIO4rU88Uk52ni9YAdXGNl3O0DjL//LjqH8VtauAdu4lUMdEYod6R/9GrkhlKHFU+j4lO0ZwsvPkcgKxbQXsMPlj00kwiLFo2MwvO793YmsnfE8Fd41hta6hF8ThgFJWChehyM6O2s03OkgrxPgxwMLNwehlP3oAsHGmKbaVkYi9vD94/yv8V/V6fMjEiY9cRFhWM0mMEpq+QYUF4BQO+LNBcY/db9e2c0o5K4sOGvZFlu7j+WrDJYv17N+PZw1izGMRxhHYjKz+yf1KMSrGQcQ1zdIskkraMUiXs6e9temVGJ/esUKL1RJ6pTvbMgtx75gNreIhcEg+hX02SeEu2HB966pA1PcB0cZkqANdciwUZ9srGgVPqVuxRgYNqomeeOaEsYQ0YbwYRNI/jO2wDSUxcwYObmDT2DbA2std4MunBXZF+Dc6MYROmluxwagpfeJ8ZBHw4XbbaVhD/XiZlBEvx+5rtvsjSEHtua8Ye5jhkraOnpuG5bhkGVdJrJd2oCgT3vu20G+3YuBw3AEJ8KbrCeunuufAih17UKUD32DcYiGG0vgWIQDRkjwhbLSeXuz7RzAoWH3bS0pyPO1B+UFBNcaOmAUc1KaSrzSpTtt04Hjj3Cooku3QuNO4Kb/auUIKd/IbNcY2Ge16ndTTBZH69+74nJ0HgpIFcexSi+UHWJz40rZfiXMLyPBu1vZaLA2xScG3wHnbCYAfYGT4PdQ/ReP+szzrlVDwRQoqylOOIBzfwb/fnQ/5Mhimy9K/w7jZn0rDIGocYXCS84nQ0iwnQq+69vWWVldYy4mcFZG9Q+wzOAucFAgoH0iBOfxFubYLiIhGRF0EYEWDBa/azecykJzKfHHccsGKpY2558jNY5qTdrvjpMrzASkwqXpZ0wEVE4N+4vDcjV8H0AefX7ztnDC2BH31t8u7b9/jym2r8h7JK21qnEY9fq1oh8C8yO5vkEX8Ao2bWEXuXnYvkznP1b6kfsVXXM5XmJ3W/qq4KkwEQMxcYLw+5rQxX42lSKE2C6eRN4fYJIuJ/1gX4Ic/llKo1KDVwjX9okfqTTlAMEhfsCvJZO8Or48fafZJyKgd5VIakR9XGVWznloXat8XdG0vD8sRqvPPmvEsHFZfA8Mh9azc6XRE3/ofKHSvy4l7FhlSSh7+JdNSbyzbdersodSzjDxHid93znJULRkq0PxGXAGBeXMJ1atp/o8gfNMPeFgXG1ptd+LmEGCzz6EckvWuJVaN466HHNZnt67jNtUSbcUQGCVR5xwkTyqqqWOpnzkkjsQL4q604cicXOq+kzaWRi+Ce5sWMG9GjgD7nla1H2R0d94e/PKsi7r035Urw1qafx0PDobSsL+68fiksoQ0gTGNV2MHXHpkSbVfJL7m5oJQ7NJtT2NC7nsyH71pXGnpX6rMFU+Xn2o/839wLyILVKcGlGfxRHZliqxqeV9g3AQenqPopnaxxM6Mj5/eIh3IbtcGdsTvteMAq3CR/LGBJKSIfyR5VxNR3c90kFvWPqKb6JFvw00hKoPGOJaXMET4pYbOWh1DvzZaFh1V5HmkPjreIsG8vUd9ZSv7nkUHnNIzeNydyIcGqbtAtYC2e8MSE+SQ6VwMhz50abRiarmxxmQhBJcN6qaZH9+eeoigxPX5iGGrWeuRo89MNOlhYDAV9hXTTIe0w2MipYdEfrgq8Gfa8jhMgp8tO423/PBNKG9QDB8SGyZDhC6vg/sGKnQZrNrzAB9eWvZtnd6VttLZcarx5yl6IoE7RwIIoYk+MBEPa3USIdC2OORmVTxD+Z9byj9wk8IClqhvSLlNFFfBRTLSsMJliBh22hFEVr3e5hmjT3KiEVB37fBXt5RQjj2PhQK0fmIeocpTlkGn0rt5X/yLW+imUWHHkqM+0OTJzc+OJy1iYY22TJIDpT3Z9R8aBkL17eacNUtOLmNQmGUuVvnXQHyLBRYgE7a8BngHE3bM+DdRMhpuiJfT1eiRL1aTDMKJhJNtZNSbYzYPckenGOg6c6Hr+t4THg2t+VA5HG0QsFrvXde3I0xV5snN+Q3kz9FdXzUSDyR7mjLh6laJcP0rAozL9iBHK3X+xddsmIuNOTWiAoIOs5DSpA5hLAnArWckXvu6ORG9uHWzcJVNHuQTdepEcOtvwey7z5hD5sRHAT8iLmvoqd4h7r+V+m6Wf3Ojq8+BeXCxWgujEgbuvMzW9LwEcg25lGmMbcA9MtVTD14TQIU48W7clOhAWkMo0SNQJoBBtYVQxB2EeCN3hT/IBSrWpcMn+J08dahPteiyB0LUKI72Kb5tD7MA6GZ1nG6AQG7rWYQoDx2QcotD++UZJF1ITz0Dm5I9SZY1hoaNUaqhl94//u7NHx5YaJe4aWnggct9Ikujj7503i3pNcVPkNZab6MF+OnFvwasNKPImZHUWXEvjiQ1p3lTDIZhjEloSvby2gkaPVqd4dc0hbLy3knuYKMCYfNAAXjJ/ds5O8A+9WmLYEtv+G6RYKvH4bjUeM/fYkHQGfMIiaQBSdbb3HBTJqIZKfI652iMX5GpYSB1ABQrc11DRP8JwEqhkJ3Mr7S62ZVQJlmW/1Sa9jy8EQv7s0ZfjMfi/Oe/H8GzMubbpBi9R7F96/8o9r0ZzSi/z9SpHqw76R9pexSGpRzmiMiCAzoytRW3drv0eOZgnlw6yO0YFL1K8jd6nMduPrxYoOSE7hRt0Uowz9IxMxNqPc8zbCJS5WTeGO7e4WvnhNNHnCLgJ493mccH0NKtocGmlUp045xzkCmwTCfjbdk777rMoLM30qOWOr8kQU+PKacy+1lHWjm7fbkENjXY42OuQ09G8mIr1s4PKQRMb9b7fSATsctpiIiwZ0toFm6aDVm07PYI7e22L6qeW8ocO9H95RCftzPooEeZHFFd4BwzXs6CEmlrr9Cuubb82WfSpzdA1ID22G0ZiE/8jhV0HlAYCjUAz9Ut0jA2MpGyUqw4MOpbQzcR7hzNQyGuX/FvQvMgrfYP43TOsLEwXSJg7kY7TUqFqn4K7GCWDFKqAVDJSiETe9fjaipC/TtAmWoeEwWDkyXbiCK0cXajICr1j1UHcDOeCck1PSTP4eIjut7JuRF2cIdFJtHif2pSA3hpmY4zQ22SCTv3TVv7spjSZLYZb//dHvKcW9CettO3Z4XzztYgBTQE3Pom4Yz8wS8hgajQiYHTgvRkKrRRgnMz8Oobl57gFIlFr4hRP5oSCVSlD/eeHovebVfj5+0AxwqHbnvGBrqFX/3WZZ7ijkMknZpN+Ta+ejEu2RuWAiAAIM5K6AR9P0WbXF2Pe0/7+uOANWtrUD/SIj1bMDsxfSWxg6a8MJcx4tu5BvbF7mOLY88MefzezO2SuV0s6lid9goAcmtAOdZ8REvqdBVKvYo4oE1K//spKldaXXD+9Z9M8k8iI5FpLdWIgxZb8cZ12WKd7iqVSbFiAGtHaJ3zf7TRJXu3urfIZxdf+buB4rb7Yio3mAl7utGS0IrF1XWigmvta7xq+Aai9EutY7sYnIke0Ju1TWjorA1p/z5G4A6Kgu71pVHwcucWoyvAnPMl3h9ciggRSVqrfsNuD0YZyhycBL+69gOYaqVqKLuzXyYCwZnNG+H0pwjmlTQLAK9R/nuruSPNAvl5senPzyjLB1xwehkqTWVYYAyg5e99We3KM5Evnx+ckEeRj5iDU3Zn1mSLFLGBY7tBLwd+KYIllyGKacLx5JaLhYFtVQb3mHWE20JnKorHRAZVHtv6qzzYKxXURM9l18+dUckbV89mHyfyY67mZV5KbKH7qvFmW+7CY5SfM7sO3Fdi0WgD4BZPcq+/Eq9TaJN8/Y1Dh0Cz2Qux83wBj+VQFQN2HosriTY1Q3VYhnlnpXddDURQU5p7y/uEdcucwh0D3s5qfJeiyv0RjsG5QB8j4qsSl5Vyp6Lq2lL09wzNmNLh85oloj+fWNDt8BeIEcZtpH618g2u0jN3Mkn5C43+2fs0EwSTpCit8xZtTIm1dITk8No/6gJDu2/GSdqIRKpSvrZZoNWtYsyF9S9657n9cfpm+qIMXZIS8Fik/IPFR4Tz3nAYr1tlwpYAwezwICiVWaFulrEOeQhHbK6szDAKc4bkRT8i6hsbfn9HLGJgyLIKSlu+FKEVqugQToXRnrnhRDogBI5nRwE1pgGepmF4L/W5eE1CuhJo8EOAh5hkcLQtzfb1aIFuVK4NPAIkXkV6gyhVJkZo/72q3XZedZJj2yS54LRiSJ8GqFptPQxIDZedexcuGmszTLvf+fV758NV4BdjFepv6lr58iPFn8f23Clfxu8Ka39PxDkNeN+uNhIhzFdBcs2Q2UewTO3EMDG5Nt8444xMhn2SmO77yNU0zCFZ7OkdzrewfqCorbwAclZpA5x6XjcWHJMapl/dj8/ZpqA1i0faAiLZuNH7d64NxFtwElwQvepkkDkcQGicKwDeP6rfiVXKvhCjFOPi/OikMoUfXvkSwmUvvnPS9szkPsrk4kO+JLx0oy6xMn7avYGrMNL6wMryg/dwV0XfY86x+p5CNojQTxpzi27sh4zr3B9rOk+1dKi9lTWIxOGXTOy0ReuIKH7jimzFTtInOy7KlG/EM4OJUjPkMEvJukmG+KtDSOAoW3YTkmBHGgDQyu5jogJItq4vOUs6UmDhWKMeCNpOi25v9W9r1lVm92y2lX98AL6asOKJX+XU2CAML83OZZmEG2A2TqLBpj8K63G7br5WisPMJmTTytufAu6xYCQV0d3ZFNYOHuugZFKmu8xfTh5zE3VJ0yhbFs/nbFWH5GY2yTZPFIdD+8LQ4Rb8jRhNfXx+MIMU7DabHSZ4isLkF7eiK2YDvOlLkNggr9ecAcvIRxGWE7MBooGyDhlXv7nlPoH2S5qE7r/89sNcoMqjOrPy+QARgn+LjxOOSF3mU9ZzqlSmSLYWDBJiu1BnjQB547hRparfsAs8cJR0Fb9YueYPIauUxk2SLQb37LjmjloU76nFvV/ICW0KALO+G81Fq4rXEoJBMmH1wpq5IYNMitxjuFlu22znlamvNoGNegLVQMqPjMDqB5T7tRgIXcatEHIhrjUEoE4WKRZYB9T2SRlyWlJm9K/nYL6KyXtvUwd+0xJQ/LnQDmJX8W+rr3dhG03FSMczCvD1UBehr2rjuz1Ci/kv+wg+HT5pcDMn9rfaxwFqF/kn1onIHx0A6ILObLeHUqZ4U/ZAMsfe+QgAFGQg8dqfpPxAa8fTVYKm4DVXNOsi0MvNJy1nQmnIQJNrdHROCu5Kv4PE2qSSNYaQSessT+GrzR1Po+/ZEmDCCEk6GM54zH1xcJaokAbw0FRdMB0NgutuxbHA9twqm/MGIBp/njvZyj4qIKINKmI/0/UFqQKafQI2/n1AoFgBCmhg1MmEYUsUVKfy2+9u0Sk1aOS1+1kHqfSNs5aHw3Qg4dNk6wqACLlaLKkbXi4FdZhO4XMmaNi2jRnVLjYhnh9EuXEsf+vV8OtiB+OHVt4B/gHqmvguphYWgq3IP4a6TB8CGWQUsry4qCxHjLJrUP57ozR7/5RMg+znCOwUTUt4uFSxWx4YUHaTpGT+IhRm3mdAUpcTLZzgiDcKVENkPqNjLVa5QmonmiXhMI7AG8bhikb0Z/esRcw7NS6aouqFeb6LLkqmlec8iVp0I7HRt6OalMvTAcu2zKezAXr+P/CQlhL97/VsQUf/SvBW5N8z3E+3TSEa3BIYMWvfNc6apWYKXaMp5iOsWP6PumKTCkEsD6obPle51/lKuaWSwRcZFdPKncQVqQIdQBlO5p6Wju1yddn8zxlKUHkSE0CgOzSh84T3Ll0tyuC9rG7l69PtYbp0irpZ6SmkOQx8r8rEomQqB+VjzvMhbPhTP5Pvr8MjCZSTloIFLs8VKP0GtE0HAV27xq/kbQzj24XyzEjbgy/dCuj544bY8NZDAs5/xVZx1iWkhkhTYEMb6P32PiXUBaUIUlWy4YnqYInk862lQP0YO00QBEJNqozyl3c+QrHkCIPUDUdd5KfU7PuGTAAVuYWx90ZwO5uQ7a0TPLyBt6hm5/1fPCips09BBN4EUS/h3zAxLZbzTugaW9fVNGvFljD4iMm0kmXTg/1m0gOXynfbo8rIF+yWr/XQi9tmpnHoSDX7+JSaRalgxzp+Th/lIL7WbLkBEDO/QIZKoKnglgc4qSUOmc+PSRxeECrAL8J067ME2oTClCZFWT1x03hT+8EAUE3+lUWiP4goLw09E5MUURpA6/nkeGzs55h2HQ1x3siFxeCWm88d8jL0gJHnZq7pCxH9yWGayLKZjJ1Gt99Sz7gEySqxESpKNLM3DSarsIEZ8tb8DxwI0qoUP1f5sHX18myOQB4Y2FzSR4CefUvnPTXRDDXilrw6HdYQO2jj0CPNS3z/CMUOTvH1hvYHw0OjsrcgfMhwH2DP7kpsqJwcUjHCXi3NPYgE0lPWehNUrsuXy3sAoTDg+pDQjo6PCXgXgZSoMlUxJMQncBm8ZyQz/ep8vqS8BGqYkqNw3mbnuDQIBvQ9o481d0EVfbvXfolPjOI3j6qU63MjAzNr6fTWW/80Nbl4SES4ySZbn9IAlvyvpJzg1Jx0+glGWjwxpL5cX4jZcd4NBqeLprsEtZNb1kQrsCagnrBf4L0vWnmZrZHf77jmeEL3ssegilY9j3ftABrxF6/FqxzGBR3m1/kk5C5ITRtbUXTqM+HcG51kRP/ivC1s5W80p6Fc+dkx+wY1ew3IRMQqWeo89ORW9yX0a5hpyev6iMa/Wv6UFEtAND5yupXi78pVXBPMs3M5oE6eUdHHbCuHM+sUijDm6WmmdxBP+eEF/5xaiQgKdXk/eTYeI9GU212l3aJAYRxpZ5JjEc0tqOmvaaaUZrRebvGcjFCl/kk+wOJ/27IeZnV9TEKX0ch5BasLrcyUQJXrOZAfTsEmem778QgsMLNinQIgZUiDpcNUIDfdt5vTJUpJbtPV6BrdmTNwxOTk1uwMm7xaRcARqzj3UkSN0HPrWR5uzD4Z+gs4Gzzq9PXQ1Irv/ZVNN6O4VBDGiwD3U9QsDPlXzdLlyyamKOHuIIo7+XKiQ/NVNgLegbUhhXU1VfXYmBoyWzpPepWfjQw129Vhjk9MpGBPpfB1W+Rb3YGO66rP3GVsMhZX1IQS+r424R1eOm1280BUj8ns+6CkkDIxEwhpDT8ppf9daQEiAkfgqX31DydkOAjVxVBr4WbXgkEw79FdtE6wR8KYqgrbSfgXC/SRiTErmQgT6VmCdAUaDxoK6tvSCUoX6e0593z9H/9GQbddXD/Z4oBhVcXxbD4FXDPWFyVtCmXmTPzVc71AJ/0MealinLtX4VNtwEo1bvmQAW4woF7CggbEULZxrQIdHc2AI/fkVG/qBIyV5Y74oijm/E9iJDXX6PoWchMubXvSitSEJciliM0BYOMCUY95E5ZN6COd+nnItxYVqVGakE9YN8RauJDfjUlDa3Fa5TUKEOXv0Gye+eQ2Jyn2gf3aN9p1gSMMr6jIQ+LycdefetPkNYlOE48RIj+TDR0EcFIECjxua8+JShirxl/MjEsNfh6nEFtd2CraPNUXrmuk7hr8VtGndEK6ikCiBp96m9j6omyZEAJKItGP46EokYYXH0oZ9VdE278Krxqrij/PtrOe6YeSxVFDygkG6Iv9v+5Vdrltqo/mUcv60R09svZaLeui1d+TkVVTwLCG0zAoDo5Rh+xCC/4a20SwHw5pjvCbUMhS5lNv5EMrTwgSTjU7UrTFq0f6kNtKT68nlJrpnQ3eyLimB3Vq4rjNET1K8v9CRKsZeLriQq8d1sPB8+B/PWDH31vmWAovqJWkFmVXklP+dPrEh1g+Avv0CAlhDxv5tO2WZJha7/j4oJr/snyBmK6zJEPPrZ9bxpbt0OVEzcmLM4S920XlBaDaZgEqeDzCMpYmHQC6zJ2afK3jqEPmtzmJykSRqT50qPWvy7WoX7Dqb0x3IZ1jzen6rY1wslPm9uPyxLEKJi2C4bcSa4BaVqlUP+03WnlLuLVXSyTAxWRP6m4HU3pksKrvLJAP+LhdJra2xa7jrr4fShWLK2piY2Or09Kq19Z0iVRwPBMCKS8NrjTPSGs71ceNDS9bS89EJ/8uPiV2AHzl87JeXlZXR0qTE1H4Gd5dg85zLgT4gU3YiQCFPeRSe3zsNdvW+jI9wJjrm7HEutAuVIXP0xTBP9JL7lLAfbY7f1qJ56SMM62gSS5Ko+z6e98jpGohK3fvti05Sbtw+NwYGqGLQAJvSmC+8jo0pdQ5d/ZpVPbMXz+RtK1+PSUU4LM60HoQSqhClY4NQIX92H7i4pFMfxxHuEqfHg9eavhwChtdu4gyqYFQ/xFUpElrhBtQr6yGTG5nyood5fL6HqWl25jPSSoNYuJL1c6WeGJ/5R2dgsA7ew6ByZOwrQ+nfZ8sLz8pqFlS1gHntD9NOf56xJw6EXNd5L1iRXf9itA82KmWUI51ciY0woEwMNHHXdc/nNOSVBHqzZr6fZOH0qe43GEG5q7ZDkpigEj0qEdsu+z33rRqWizBNex6krP7Ow8kFql8avSENsXKV4Zj3CsHkdVCNOAGb4XF3vWjmyxhyJFEgRF+d3iBmj+bpqDasL/FsU5Eb/czF1nMGkH9XbBslfXATmRYAw+VP3rVQ1Icz4kEtkujZCJb8cvryAYyxnv6xT9I9R6ejNumHyzxA1yuJTkF1NEQeFSl8m06/+yDyXzc8CqJuGz4ufYrX8nlvDDsX/yU4QEonqJO/h/1dp4RCWPXFBqQkcTsIvrkfGhrwbEEVVAPyzMWuSGTkUjQ58VLvgvBQoG7UIwrcP9bwbqSE8G7TjCh2VVzjUgbS+LQk8PA0wvRf9GvcZ0dstr+idq4NrkSaq8yGwsFauQtsFZ/DdcAC9gCAsUdBfEzDFlqvU8GLJnJu5jeAy/gKG1wDJOsTIuqzO40BD48xg3DEJE8P4SbQMilyTfbxBivuJqoSYH4JmHs30JvX7bC2Rah0Dp6wjKovRbZ2NS0Uega2mqb+wasvbsm+gdIWPGHFoszu/o0OWRIKSJRglYoEWxtlPhaJTgPCliCqFcRj9HGjd27Z/UE2z3F8tov4uiMacdLg+0FO19vxXBjhhwzBzz3qAUhCGNiLXgbtR8E1ERRjI5cLvCF0WXBRDpxGq0P1AtjD+SY1tm/NlMtmGd/RrpF298R9jWxCJRVu6cewez1xJmRv1Io/LkQH4mNMFZ9QvpMvTV7zf9+wxNDmnCWQTr+X/lGml61DHpq/oHn6O8Ufz3iaNjiiNbtvt3HIyZv2IVvC+X59QTDyGiBDosrgjnCrgpdtDUDVpwBKIZ2ed65/qYpUeDdLu6z5v93wEklM2E6r5uix2nR8tagUlkXZC3128yDKkc3NfJCADGO1LFcYdFjXIR1jNqhxKI/tSw7u1kuS9Fo4rm8lqf9uRBHmBDFbKRVJgV9Bcw/faipY4ptcf5B4F6RMS3YCtYzSC3vCwiRRLukpsZpyya9p74JFmvHad7aibXo6EEe+tQm7n0kxVRat12ouzwDtMRv9f+aNXp1Hs/Ir+lWf7od3/aoWB13/z+RFF5tzWicL7mo2eA+PSTjNDl0RPX6gh0rBygULK1JEhlQuOe905cyL/79XlV+El56UkI8N62UPKdIO9OkfJXGriW2DtcBtPexIn928VwkirzMpi970NmtpFwUvKYNHj3/PMaDq78zthPcnIuZ0x9DyoH9mcsHougkBlVNWHfQR6ZTtRqZaJltIVk+mjZORONe9sszvXDTcsdpdj28r1xr7cAUIgwnIa1AycUqHB4W+byZqcJRL3cADjuZc5ROUVwJJ9Qe+gIZwYjVxgBtdhcqtg41h3vepH35pC56a1MOPln8HncMjBiCTkE8AzZneWkBaNw5biG0eYGZpJGh39P1JwfhtLTpmZB8USQbulQYpqYj5fg6rhFO4kGTxo502/9mumxD/uH2HuHVKfeHmIVtSlhI6AFY2IV5JlrpcM2j5kDu1+kdi/BgfapGiIKwO3u7kwztu48986DMc0fSAZyk59pH9xz7VBr+pQskf5i14h+ObZ/pUWdpSnlR4O263e96FWLmLfmdMZWzGzXRr+3qAKLgi8UWc+7T8pVzZvFLDtUMZmmYJQrNjgkHa7RBh16dE0FJ34NGni0krNYemL4jMLg/3QH1nVOut/xjBnHm2f5SOEJG18jrGL4fe3e73/kk/efC1ErveQLzjusVIozEIyad+M5fwQRdDRNcOmCCw4hz/0cgkcItNGlzCALznZAoFnq9N8GBM8XLpFa14U+GfvAp8nSaAmlbd8e7nhFF0gBl6iTufKFaINN7e44yM5DhwAMxDdCj8GUb44srwDxs/sC9ttuQYhDU2yeS2MidkSVY1dI/+3Rq0Qlg422weDAUTWGwpBOCWGHZC8NJbFi8YGR/7Od69tpiPcrgO13sQ7vbyT1IwhZrednIIEJhCD0drG+aSsaDNTRTBUF2dFssFH8xLm/x7LdUkbukl+CKPgideY2V/OPyY7DrR7YwQIBwud0cOeXzEu7oQ2i0L3P8Z55+VxVKI3927NvU/ckxgbrCQTyZ+aHneLEjGbPolJXXauVYcdsxYM7kxGmRnCQzfuRAB61XY5dSrF4R4hgjlZ9IOR0yttcaFsfjFQCxm1fvAgjgijTgffC62KQwXYE9V/8DPMi7+tmt7wfFM5tffPKdus1qiDYWvU9egsSGVojKzDiS/cQzjjSYEsK1sdWnfmNXBeCQotln/qznU6/oJ/7T3dmj0QJ5N+rKZ8FIgdPMwXKyNxnql9kww531sFD7mxhh1T2zqmPQuqstf4qOv86sa0M/atlpM67s3oOVvJLJM5ASS4fDJMpG8WmjefsKzvlNQV+rcoQXUzu6Fv0/+1LFfw+kZHiCQD52keie5vums/+gvma9GEyJ98K+5wE2E0D9XUir/kKlQyeOwhtClsxs79rrvlYENqpv26hQa9sK+vA+MtK3KtYzl+caVzhJKQtYb4Y+nfVPH/Igkyb83LMSLMOod3/hbQjbR7JBfE+wAfIezGugIhPQ4Sdq5BfPddpnl8tajkEVfM6REX3oIAt2O/HrAz7bzAxM6Ux1p6ZkMRFOMF3EzHS6jq7IKtIkjn0ZTFuQVPN0NnrDo+v6OVtRzQZYiLxFY05F6fCVH9HJIpHsg1/qS+sqYIya28jgUyiI3MwR2W7C7gLMztmVkIbln9gq19ZaB6EPdff6FPpuyGJm6AmY8h6soclCq3GYZSIpsd72s12QAuZDN6+JKEHJe5A49zwCUXggXrMHzIrA7Gl30h0T75PUAWewCn5gOXnU7PiV5DTfnWIRMojjc0Is4s4AB5UFNlvH1G/6+J64JrX4f/yxyzu0thhPovc1s0ZhBSRlY1FxGnjYoquICxKYoJPTayPWS4pW7OJwfq0wTW4+4rIfk8Nz1QvdH37rK2XGfJgv/M6DPFRvlmxVFm1mvTxrZzEXSQ1xX++R6rj770whloEpns+af9Uei4y3lsAGo0C6qQI44t/VMMiKqQa53oN3rMj8zabxbZ6aLZpQqEV8fjyPi7YdPJXzjzFG556u5Xrn/pi5JwytIEqh9MV8pssR+2aVHMOtq3mI35oTkZB+749rgbTNHRq0QqIIZ78T6Vn0QFyeXVPHDjGmI3WACKfRwXTvM7iYNSVY4stzEYStpkKx7cDp029iU/lZ/0BKSq6h9L7dpzmcj3YbqE0eb/YlD+iIuN4xLDt3n3nk92Kw04KZUnq+IQUVQU+t/yWOd+HQvUZmY3mMDhlr2XQn/CjKc37XkLdtHQYc9HOd1X65n4loEm0jPjgwoiQpqauzy03Xx9GLYjo/PDbwPWje7IRQCm1KXYoYvgGJvbkKJyGsRiOBG8xjgACej+YjOP4nwHWzh72tot8BEWxMguhuSHS3sbrmTb56rpfn6yw1OmZ+sht0qd9jHgGyscf4SNMPjCcFqAGpAGbhAExBK9qoRRzZ0hU9GZnoLTNtRP8+5Iz1uyeDTMWc7hv4rIMWJlwREKgHBUEp8U50dAAQqQpbk0akYV2N+syFsghVWNb+EejzxqDWYXktijz7IRwzwq8jWRl5b28ioLgYd5koO7cnpaZHfFO04x3XDpn94r5c+oB2b+vpTcshU+14UwRcI78PyusGTnCBQGx58qP0STKp+mP/+K1t0SMU3QlL4MZW9cLYboPUa9rXCM8+I6npLQWJbIy3kibzr5MAepeuIuYEol3Z+Y/yupjCy+MO5JtCP3b/zd0xrnh9bSU4gwLxvKN08YEwXBpFwLfDhci0S+9Ip/+TcBfHwK4h6f+VA3QlRvis1oxoWYNNqRPyfXe8a80Tj1aT3Q1gxSBM0d9Le7rGj42ZB3zUQCdR2RTe1n2rXOYGEnVGjpHu/Q9MOyjepWJ/N9pP2Xi3whb9eDhf2P0E+4DsIHol1vlVEB1JyJ6wi6CZjZlHeNhRdbqOBrfs0n6J8RMSf3VQFlJx2jPXDEzsD2ZhjF6JIvp4m5k47sf4g4i+xgk/Wj0x4LrXUl8PaXL1D7UsM2kMHvZBvNAe/+VRAJl4VbhThI6eygy8J8/2RmaAY9jMpnSfa5AiwUsZJ50VgNbGApbUL18A0AmF8yEnH6zI+SVfsIyko8juNkqdr//BZnTLJaUvkEJrq/Qf7RYbccq8a3F/Y3nauAUNlONNQmFe0eL7CvNgybMKl0HGuKyhP2USKNL1YjsR0r1R0Hq/CUBizLYyc4TyT/uRoEhFQ/vQ61Cf6oWrJOX+8Z48vY0eY3UmTkPiDBrvfbJjlAPfE3mcS+MEnY22MBnpkMjMg9yy4m4ae/uvXYv3eps+Nf2uyI2h/RWeTXJzUA9dLdZsdZ2bs6UOiOfw/zXhag9XkS3aGKICMTI9NN4NPi3AAa92S7wMceMgjaTNGbCb3Z2QPhI1LsTjHFfRnxC6iwTlN2XsDJQmfkJEx3yOBNV2YrXO5elhNh1cSp9CQZz24XENZdmJ0zue6wNqOt90+dvCdlSgUxd6xNkAP6C9+o+1xMj7UQJEr1tgn3MmqjY6zcBjj7g27omJGOovJMGEeeKvqFf8ilnRqFQtDdnqEJ0B3NAHjOwm7WkyLLv+KWwxPK4nifSbsd73ZNAXwPkFr7mBJtfiBtN1VQ9GAZiBBlBHUNfa2jPWwyeAbJ9xaF9IDswvOFE+lKYIQnaI+0UKFJN1WFcUFOnqcFST+rYIOzvFmHKJRzIuh2/QiJakcWsDfkAXfMPYlLK34oJLjWKY8aPoKIiyA/0jSMBRs9XQFee5eE+dvr2TwONhkAOt/grA0vktyg7Twg+qXeZaBJklOgIh/cDztYs3ZNsUpihMw4JUKo7wbEHvTfPzoUUEmPFWA/FZD4TVSqiMMDaPqdowG9AdYKDI8A56jerx9VYRtRfEtIcACTb1imhTbEwKoDfMWT2aoc8e2C7ZCKgVQpd25kHEDcqQnHSSo9mFDFvkC0Ef4W3THxkeMDzhGnzpDe3chMdTzU9AedYLCuG5zj4X1NMg+V+OaRQF6cBqFVzKnk8bvrPt8zFDFBHyXChfwmvdeDmAHZtd7luueoFiOpFIT40Dwf3YGxc3wTp+KNMDdkh0uv4xVuOKDjRskJKIDnsyOndqs+Gn1Usif2uRkimEmLyPnvAYLqh29UHc2D9Rw36mHWAapPW5SluqPvbpTHIkcHbKJ5oW0WJq3y9g/ST9qc5PJI3naT+uj8R4bly4gP2qP7v2nxlEWAMxkdI89HGwyjS1YqvqdCuKhS8JGmFwEzFD7MUOLg6N0QD9SmU4CEGWgBp1unm+7b6Gxvi8Tc0YAUYHRWxcOHQqiPX7/Bxgllj2IOcmm3ep6KglB0OlO757TsG9IihTqneclQnC5dPf5Bi+4nlTcOMJ/QrgI1NoQ4JLvNg1ZfRBmKZpssq958U8GYLAF352DfHXLVGy+Cyyj/dwtK4QqUtMe+qNwsbTMaDZ5/W6VRZn+rYyUa9beHPOWRtq1qBMmOJ8vDO0YSRVX1jq2kEMoGpsWW2uN0TDZF/Sd9VM+ffFKyUVHfy6owocw9zeVlFD9JbFztDSBaZoWR2xaZErFbZVUifhZkW9d5eQeA8sY+xPHsX6mVpQPaDWpr7hchlSEH9FT9sTCRgkPhPtt4ZQv/o2A/awLTUDyt+ysefc6zBvsQY6mZ9JHe1eFfuKJf1kNf3oXNH8ScDlJa69Z1tksN6L3ymEY9qFBGyO1XEuE+1SnNXxcw6jCDXWBSn6BBP8YlA3Wv9wuAp05w0ATCJYDYzhu0pX3+ZoY2I3nkQ6126af1/fEgabxum1lKd7GGC0K/pB2xEqs9G/Lagy5XHMrn1RyvDw2yb4qnSnpdMotKTf0yOramKXTx4tCkBQJMyP7bMZYI9FUzUf+pv1qdBsbS9xJS5pIWNFYQbr9n9G/LkhLs2sXpU5A2u9SwyHJcaTSqS+lSk0gwnJpsRhs9ZH3CF+G4aqWUa8uS7+ptNSVhiS3pe+juqQlZhR+pCN8YncmwKbrqIVzvLoevQm6GEc3poIumCFhhuSwMYiO4HIGKFVCdb2B7WB8Z1zIKW1JC1X0WfNXsL6kn922DWwCL1xbfrKPdFQvLCN4927v+e9AoN2tUuPCU/ydh9ojEfrSbTfER+WD5DmPtK70ZiOKb9WgsCABs22vNS/PTUrNHe4bKRSxl/O0m2fHxuTrcO52eI5dSZcLb/gQVkD4rOFh8ECUPTGWThEBwttJOWzPVsQ2wYErXN1B3yGPCNE7wFgBism9PtHsiTUXwSosTw+6LQxejVEdo05BDC2iggUKu/Ey/qx/4I5S0RdnuZfDiy9wNod7m73XbM8+yPsqvoEO1PHve4IXa2sXrL2reWp0sd/pjqF5O/mIjU3jHWrYsYe2xZ9UbW/Cg/mSuWCiEUq7zeYAzet5YAUxUOx9ZebzmzNGuOkJh4aaYn2raLqIXHs0At5EvMQ4PiFr0zVRzbNp5hnx9+Ni/g2mSN67oqCbDkn2uSPoY7tDmISgQXDWzB5N7Mu6cLfUlC63CTLeZ9HHrx0g85wkhnqz+yD4B6SJqgI+aKaEuW5qo88tJQHz/GNoTNpBFSNZzKJeXt0ki1VhG/huub1wWMn979he8ic4Z+Wy3P5U+nYwhxBS+mrz5IVmah0Vz/rYYqoZSwi6OYKl1/2sr7XPHwOD/ogb8/3t0IQtOpKoUYi00kxV4ZZNALp9ghpZ5BzCehy5/2LJSDNKt5bhoSqZpssvBzEc5YQEOwGnPnCGYWOW2DrbDYBDYUvOwqmgkuwdGsCT96bTLiFaC5KIlGjx3908hdzBw9QfDEK9Zuek7tZrdl0GcUducNqE5dpj9wj1b6Rh3vFORJl4QQ9RpXZ2nzCCbOYmgbNdv4D707UXDIsfdFCT1b7OZs0koeP8NTWuvQlcuijtYr2BKoYNjTRiuODuykSzgal3JAvfenRRFD8mMy/kBOowpuSUI0W7uP37skE1Izo/tFbUa7mMABW+oPD88/NxiwIS7lAURjGS/s8MP04MXlVsRTRx75p/boy6lywYVoEeDh+ENEbpKU8+lxEH3LdNz17FE0CH/LgIP5n1FL3BZmWEE7qfYoIDIYIsPmmLLhz0obdUSE1P5ffMQ+X01bRLYtcn+hxiN6AYx631crzUuVJ8rvg2aKSS0U33i6UP8+faE5xdX5AP3qyWhp9cjVup12BOevPlPddsLRjIUNmNz8CbJFVu8YwlasbJQaZ/q0FgRjIiclMqfOgh32LYXDvBpe6MQxCRgToZZBgEO8vabO4Mzc4krxRv6R4XLWpf+Y5ks3zVnke3ZlHF+vQGaw7xpWNNqNHhNtpbw0FIw5B2W4jprlCVWCkI9ueXGJu11qesxSVktZB10dtEhnxa3QABUmAf6ddggaVRhFxEypH0C/z50KvfFZfT9PQt77GsKM2PUn6CTz7QHfJjuQ60UDfqPpyK1nl0QK372awW5B5Qa9Gy8tyPRbGjoaoSL/l0EE2kcrrd31YQgs3Y8eEk5If0IyNpuOKFcDTWOJtvD3oeb0jj0VDy10fDykqrNFAkO4XK+18aSn9wnHs7+9zSr4F+0Ul277wBlnaFKtka/eLHRcSuuW9DjaKfh60vtYm33ymgnbuWt1cW2GJnxC9yDf0Cii729ShAhMPqK0eiV+/DDjmaXScFXbvzWLYH/Wh2yuiBWVSwISUIgJIMbiQnglD/twb08Q1NLXcAB6vnwcm5Bxw6zv8RblYy9tAfpg+8EHeBaeOpW/WfdoT9F1GGAnoohtu+idLXcV8AHy5eHPrnk7k5lWnWHVrm1QAth6eSrS/TWLEFTE5zek63XgRoAHuSnLmXf5V29EDU9Se2bb8fvFz261Cwjks8k7jnWknRjct7EUXB6sH5Stlvw45l8tv8BSW9xKh7GdNkAl8xeElf/ljYkfTb/88dtnOTRX6WT7vEEmv+voBMr/Qx7JdDSPZVR9aUI4pTz5n2L+VavvaAS+DC8i4Lg07hccoxUDZD+Rz4jAFRjaRW5ECD4u1MpcpvG96N1lQIIm+p6bO4MdDCtYHtdMtfFYgFw5cZwwfT3uzM/NNiW8J6PeXWv7YsRc5+uEIDYaVQbibsFeC/ZuR4QJvWvxFBd6jZJuxQ+dzE8LfoBJOzMdzqac4FzJjOAdRcNFOylPuW9kWtkEamfCRQ/Rmgj9jKjFsw7mNOrVjBq1dVxEoXrOjVvNC70io/EqzPioUTN804NH0CGaXu5QcTqBRnfAro3S8Il6/tFiLYP0QaXqOPBIZicM3UZNGEJgiH0OphR/eaS483LBtUNXQM00QHg5qhJ0R55Fbtv3W+/PXQfv6ytaunWu9lMee12+HR5xZj91nxYd8K48T2FcioiUSoVwTtwJlyuoTGUngvL/kZq4GG3675Wdp2Vk5pxlBjJ6FGGTu19k8nT2EYaN80RS+W1kQhiGnGBSg2uKiRHVfFjHwgAObHJ5HwQcg+hdIR/T9yvAm3cQKpfW/xEhABRN1xHhkOkGcBtbLJA9jkC/7RBXc9smtsUxhBYCbpzaPuc+DWtx7w81zkbdntnBEAYpplzTvoKVJo/sk7Xj7d+UzxhGaKo+E631Cot2W8rektSOhc5gMgd2ab2NZSqhF6jGhuo+8S0k7WNWwdGVcJpuCjaoqs7Pp0GspTXKM5krbo3rf/X3q+zX7a8CJ7Pu5dp8szsfDk764MHbJiCrfHwX58feRtpNulXb6LH0goRUMygF2VGRXKANIMShpP4aqFV9zyUuU31L8Lj8ybOqdQ6z7+LIVfbJy/H1T07OJ6dkzzlwFAPOl7ndilnkgI7cQ3LEl/rpqVHxvr12xSFLAgttGDBdJtyAwTjN/GVQ+fWl+DWHFAGMcZY4JgBWKVkunq2QvEbQGwtn4+yq7qmZFrpc8wfVvFLHe0MVpMso9TlpjQnDxOkAyGi6EuNZmHbvCSLi9yFduAyJEdK1Jd+ALRylJFAYN9kgQ6HMJrCVo7s9CgtC/cPe9Mq5bUl0KNXfZRtGymMK82dyWC+GGi0MX7U3z6DQTyE/b0Je0y1NA2jJqUsSKZOfQosvtxrDh5urBVCeyoTpCjCG1lAcB82TcjGG64n7Yq5Y+Ef7dOdQCOOJQ/QykMX8iSL+XPeWbfwKMHgHMSENU+4hns2meGZM0QpOoRFncphKjgAgp1XZucD0MPjkHUooc1ycpqllxyHNs4h+6Eh/9OXrFGAhChH1dzqvWff1uJiS+IqQPZjiDIU1VDv/4K9mxYaLCPGdLrkr/VaYH8cR+RntpR1RqG7MOyCMvMYiTfAgNUNTgx26qxj7mJkQPIMN7USBCo4Z//csRIpoSi8OemS0kuiVeKVk9XdhII2DTytzS9v9PbX9gronqXLW+csCkMZe9lyb6BEPyCkUysP2EGyt6tKoP3LyhkKWDXne9jtiuBwUFf8lWb6i/r+1bKWUdOBiTBKJnUd3OCycgkfkskOzjdVECLnFig1jiogVm2n3tP6B2e/EHGzoXG0FK/f4P+M40IBJvH3qYbOR0/5dcqvr7BwAi8gAuPSqbvrIjUBRA9NBjL9PhECa4hHA2FOWrD1zejOmZ8x2wsWyLtNJEkIYQ2fCL5j7Onp5ogeJ1tBqiARcQS4ODFgVRMJR6nAdX1f766pZpDt6Xmp/9kTjH+gez03KpkvuHPj9yz+Ms8fMLZfhQfTEWrj/+mUh5tRMQrTZvAyh6JLoZ3aqB6k4TO9mwdYqSw1wPc+bLZkLRXcXolf0j6NEAS8arSznrslTxgZPjY9llhmnorSuf6h/RMNMsJTUmc4bvvpICh9ALra2ew1scWyn8F954Y80/RIKbbJmlQUHwaH8OZoYlQ9OQInpKXCUWsV63rh/JgQ+QY0qKzv7XuHJDVT+LmRT3u5o5Bv5Of/x4r1B0X/cXG3qFQw/4DJa6nHFtZeiRmA+0o5virfdgQSxhujxspkcqY8bwgWmAwY0bWD8b6KBzfkuSb4JwGhO0Ao91W7uHMw1QFhL2CCKHwjdIT090eCdH+H3TkdBQmjFR+YU8bKJzaaP21Jj2hAvgicleni0TJwHKi9MolmqVLR0Z7KqJm7w1N47SGCsDOrANWec3tDgX/LOVrTHY2h2AwVtc2QVg69P2Zxjk1iloSC58ZDFeOakT9CMfy4HPvXipi1Huqv6vGpW1Afht43jHr0bAsNCsnkQQydAkwt0rGkWu0GW/Nm1O21IBT+D6+Assz53Jyi/Jgic1/UjCI7iyyXFBBPZnZklYyJlc1cwUDo9WG2Zzl13DmNcTx/VYGi/80luomcSLiw8s1FHBljTtt4BTUmk3Kn7TF9OdszktPLJR7mXw+cuJCYNoYwYEx740l8PrsT6ntFCqf3nm4gLIKWoTv7gmdusRiqseVktJpJBnuZ2oQkpHlHehsbbh+VQgaUfsa0xa0rB0pLEKUmOfBfw9sYBuXwqqBd0rmvs1MteNufytg/Cv9yTGxwugCR5wIVJU27ullKanvrI50TXYVFm3yx11hmtM/4vW47kvMq919A99rb2VLYWhk74X4dgUe+i5KDzXJqEAFQxj58DmH8Dz6kslYMHxY7/fGatB+HXVgo83QxTsJj99zVJH3A7Nkhnkbn/DqO1h3tKJs3PYJjfXkoNkSG6WlPwLjVsRcSreCDTeCwH2tqbqgeKBtv6LRU8dx1zDDGLWdLa8gb2M9klnbGiYh8iggQ9ivnFw6UPpH84yYcdYwslWduydGgy9rtWiVZ20b5jG1hRskjIU/jNrvFipxz7YYiOxLnn9hKi9Bs53+QtdWzHEFMCurq3yukR/90k2ZqQX8xvsxy17edwpMTYOw/2opJnJUVhrkXT13noVg5v61z/X3/en2yltmk2CraQKU2KoH4zgNSXsZ8q/+SsyMejcbq7V3sktp8aAhz0hX/7egSvh23MbwCvc/EulV3fqUiYXmtE9dVgi0ZB4lAgAv/fSKtk6CazQQp9+iRhSoAWvU+Jvy5Hofp2Iy2QjnJ1gylKFxOOxV5l/7WiQMg1jV1VsAVloZYrO/M6S3FJAsHhYgJxWu5Hfp2kIdeLJ+2ROcd3J/2FcROs5FUIF+q9MwAkZhOQM+o14/yEcZyrH6APAUF/dS5FIn57GO5hbEf1mvI4ZFVFGcfJ00QiW3LPdSf8ke3xu6WpFXPUEgvupc/kNr5Xn4WdgQeRD18WZgIQwNMLgB5Nhyz4N8WboYf7tFo07rfinv4RrAmyocus7eJPgDd7Ej2m4IbPAIxvQIFV++NLfmeXxDuSHUTNGUh11++ZEd1A0Wiqhjv1qd7VHXNaMXYlZPtbZ9RYytJy05mIxIRFkjUJ5wfKIxWwo6TZ3sF6d1ovS3PUJMUzWRBiQBK2fjAjObAaAcsvUen+6WVxdLrU6vnnNEU4k5VPCZXHHnzCbWhGwUcnizfKtecBVhVphKj0iUUhm+owDKRxPI8pyscUDtlQUm+KETYdYLp9vwlAfpOBiqd8DDz5+HE91AOkP6ujcaT06fCDbVyhxfKdWnGNIL1kpByFCkfVx9DvkgGzv/Bfp2NPl4B8zREgDSx+YC0XQZzdJqmJyYwT+OPvnDcRxnW5LGcIB3TajN+8f25hIjNZfo165zZB+T7Xn77TvPUkHjuF1lTKqlPLmA1u2GfZ0PgvvbiQ8KsikiecbfTIIyrPH125WKl5yiIyC+D2qKdUzCmx9aEfvE59d6YqeqkvSXBjBPFYDgWIH+ONgc0WTgimvJKQ07Xlic66LeB/zgZCePtmwl2/fKjNTN21UCIh2clc7/5xhjD3XOR9U/nWFKNKijTwDSWsi4WAGNKes1UFDrxqi1hlRKxA92crkLdZ+bD0Qz+V2Jmo3mDBzQf3iwLIvqpC3KZnLLS3ykGSh3DLuzAMPIxqV/8Vefw3I0E3D+gEObPq8ObfYQeqGDw4RMHbbIuu+HZF1zNJGdVZfoNinmTjvbvJ7yEt7RbBlYRKUxTnZxxf3gFhbXz2JrLbufgYdHRXrIDjbWhyUjDTp8eYw63ZtEVJppYJR6pPa6a1GKmldudMFOVjNoYBnXHg7vGnp0zLXe94TDVVVfo2TYM8UZAi0nzf5QO29e9XdlfH8HcTo0sTiJXcY3aDSM2cI+/5PujdvHWBEw5W3AAEeg206FOfwGtXcHdu5GfWTpgfMXz5aFotkosKybDnoteG8HdRyGyDqv7DyNS2RHHiADxkSoG3wKqxBaY5YO/QLkXH2IJex/udkoKCckiPqcIafvNxsHlg7VYYgWK5Eru53qzX9+GZfgsc9FcWlQye+8mfzn3HQggmOeeciEjAfJ/WbQdsGH2DB0TiIpNaW5pMEzggUF2zUrQdXe/ZoOLPt3Wn0eIbJUpIehEOxoodKQ4OPxipySE3RzST6t8tyPPKYpvFT0Cgctd6I1bMClCzX1Q7S+hbXIovBDG1XhuUlvM/QnHxtMQUbyEWS/kQYcmFXv/pwla0aER2/o3RyX4mtJGJiaRQMfkFQoFIKJV7gr7B03x9GTPTAkPPNbEi+fS7H9hZmXaQyMt62TZhfP5NqljKfwW95rKJG9NJcyB6c/HDmjflOBpVNLC24XsUYDa+ppCawh5kWQDJwVY/2nc9ceT+Ww/K6j4T5zpPIvgroswc6DP9BeyG2ahfuMTaqckMqyBw5/lUt60DiFwU/kNV0lghOASEtI4g00wXRsLKi2ZztVpqDxnY7dV7Hs4AmzxU1ogMU3f+FKMY6+e69H1/gUWQJcNM68eRidLc9EXy/qfFi59A9j5qM4bWfUi11uqJh78QiNqMUc7oCFh1LSfc0yRbYw6bwt9wVLq+4x2ioojpEqZhoguJnrvIUoUW/kbD1HiksVw1E9mNUZNYwo4ZusA4WxEHJEnEKprUhyAWF0LIEnatnagTxiUCkyiIIgT6SNu52eWDIfzCXOpv3m3MWAh4nxPu/YPHFkn1WW39HZqpOPGgNuWQHq18an9dunE8krBPKGXMEU7u2RAypVlLYoyU7ujM/LOEIsoVnofI6zGtY1n+f+TCh8FxEkHBjU+4YsWiHqcQLzKpzxnSfpR3RuvvTen7mOYHVmkws3FCFyqPEK18qMBMIEFJj+c5iMN0dkWJhd9HpAVMBGUuEiq+cqYNm5QZaiBOPUSRS4JAl7y1/zLL55pIhRvVfVAHZ8Sx6Q90XEHAQJGs40Ii50YRFvlk9FcRyMYynZWLhSCTOdZxCYmLZuxrzkNqCr2OkOwQAdlypCTjM5b4xvsUwIrahKAQz48HWPa/NKQLNs7Yh7SFGgTmykpyO/ZDkN6pP/KZeIansm8JWCN6Yi41kz6zzn34u5F3aEpnZGJucLOFVPHHg57Aen4EogJbUfBW0Tx6UF6zE5wOIwbiJ9emxkbn9JKPQJ0NyNUBerIoNBnOSWriQfwmWBg0TCTlzLWfNh+1+eqmwY1yQcsmMjlSBRIR7mybwZ2YpdE1VfQtysMbozvmZxMECZKjJF6Hu6pYakBmwPHabxr176ubmz+Kg/rzC69hnE06NEO7BBs7zlCBp7gpDq1eFnSDXgsKdqRnR3m+5k4coFX4eTRUvo9jikvEgFtxgkJi5e4HI+L+GZQ5VR/BGC9aGcNLZQpMURjCmAzrAeqAvFz7nTp/ywAvGK2fN0T+IFY7QEMXraNQ3kbToEKBxcmv+IDU+qn6MVWM8ZOA44soGwQ7x1n3K78nhUvV2bhM51FzTx603ZfrpJiQF3dFfF88uAa1oWYJemb/mYboKNoA8+XPjM3Ym6MfbPWxS3ysgQqYkbxwzUQcIijqBrFwwqLqWKl5dT1COPsthYBsR5eC6262GYIfO6H0+tPq3HCsp6rJJELZodHItkf82mjnkm1y1HF34zoT7kN5OUt2m+FVGJmpI+g/c75xwIaecWuebhvEvHkdqg4GJvnXeX3WwFFzx7oQfrBBeB1ID5t+7TYYF9emg8+Jig4YLUF0ALdYsoX04duuWt1y3snM0SAqrvfNcI2O+5tE9UFei2rH1m/esiayk/jq1hLHdl6qCKIH2MkkXFX9YPIXdfZdXserGTXrYc7LEo64hMHbL/nkfwyTh/qr7/iHh858YIl9vDjvSq4lDB1OA+qAPwWDJ7CUrxgf4GrMpQWg7JchWy6w6COQKd5H34YyJqkaoeeSJtp8NF80Rqu495q6Vae+4LE+ltUKhTlS+NNGavF4a9e6udZS9QXddFNPwpTnPNTSAVdMzmmlFfNcTYFjpm3fA6ZibOzxUYDT9gS2x3KxmPgPIHdM6nDY1Rh2i4Kyqovce6GLodFSd4sYz+6Dt/E5p3mChS4MpXmZTL9c4B7hucHTQdqr9dYsHxNdFONv4m90+Y+B2+MrvXzRoE+FKImU3cw1HBQ6mc4WYjM8EJJ8oY/euPP3NlpTTbHePEoF5263K1f45c4UXEKg6bUABruPe0Pz02/ylZ1d3gACskU4bdGEcxoPo5UreZs5mqih4bvbZgJn913tscUnP/WHLSqcemTRy5aqPs/sVkWq+gRnr0i++eRkZdsA9hoAADalg+t7AgfTqKJ3WStgOC9Af9Ku9p4JBuF9hdv4mQqv9om1R062Z+C4dmq9Ak/J9+hzH0B2RDzxq/oNzuVMForB/z2e1Fi0BbjuOSgOT0u5Hi0oYsQnA17McN9uAevF2e7EOx2TuVtCJyivgowhk6RSCE/k4lNwSWowcbq/rNT/ZL2OFZ8FQlYZM1A2Olq7rM3wPlQkrMCo5SBTm/8uaZIIjNPnMD4OJeFDj3xq/m542JJsxI8MMkjFzlWMRVwYNLU/mN+Ing5T89diM81Q/8cWxtFrfbXiZepH9AP5FBz1aXaeVQUxu63XMGsxjqwUS0KeRol5p9flptAoTdgxlgEfXOE1IT3A1pdli0FOWuPRsa0uHTO5dV1fkclkRewpp7MJo3BB77rJXiaX//3pJaUOrv1sP4ZWsnr9BWPlQwb/9e4JYwYnHEY2EgqnXsvg76D58zYxy1IYmLhQF2J08rk6dzBCpbjWeYLoKkgjK3mPdNf6xm7Bd6s2Jj6q11hwva7Uxwv3CQzx7VMxdGlROHsREG58VF8g7EkrJeD9JW66uVgqCH83bwf6ZkQWtsI+HjRx0Q3uH1RRKFWH+CgDAkpSkGt52iiXJFb1VMcWgZra9ns0oEbtrNes3itfiPDpVAkSXT4DjSodb7J+XhPVReabS5JcNWjvHhpvjn8GsuR2kGPkgM13Vpk97TBHKpMfn02z4IJIBxQsDGSDjZ027Rha+E1FK2+/dYirFwpUD+kRumH+HJSWOfuRHrdOShKPc6rTQb0YGH/1imxayt4FQzNZys95cumQ3Vfc4nb8VbRcaY62JjQUZXupgZiElUJjaJpHaM/xmtmN5Dhqk4hpGwTLixATWoxuz5EYrJWSK285OJy6qNVajXoaMlOUw2aYoOH3FcenpRQT16+4kRP5gAAOKT17ENyoDeeTawynl8+5l0x7xsfp5SNKOImQkZ4jmrvz7YPrCtVjWP8o/oNZ+rM4uzBFOVqqtSgqIjjI9ds0ginlDZthiw4rMzIvaVYzziV733Vl/dmie2vGgyYN57cmYbRoP62ehGQWAHtyO9aoZSz+krFhlQqxnW5wkk6V6NBLQ3lMEEGEISXQLyM/RLxHWiFJIfjeusTOhez7xlHMIaKZ7+xAj0RXXMBNyFTT5Huw2tb12dvbp61Pp8qu1jyzR9fUgDs2X7kEtcsaJ5GWFnGHWCk+TjNco/qEHN/0XLM9FRElMJJQFGkpoygl5V7s2ljL0+YN8EoUYwwfyZ/WUSH0/p/MyYxIdyUCbzyVIayqJhtSNfgGR8hCbJkWi+1CSxMp0UB+LBsQQss86G5baGUhjixsj1wqrclWU5IjxUTBJ9FRG1mGcL2yolaZvJuoRgaczIORq28i2GY9kyTsQ04JVVd2bfo7KAvvkLVs28npFN5+r3yA0tZxa6GpZ442S36tViFKwBmeDIy7U+tMbtvt6uqfrCYUdQ7BUx+TvKU10CWha3tT3Kcz0YnmWcnOVjKzhWUIcsbf9S7PyTNlFt05nZrWGfYqRndcVtJaC2LJUA8f+yPV/2p1OZKswd4RU+KYToexF3SCTL13YN9KDWPenuhfuoRzn6WIu1Np7MZJEEUGruALKZp1rpuQJ1wc5cw/zhRGy90F7rRfhtgwhff37EMe6TluDXMuDJl43vaeT+sSN1ADB0QVrI41iDliTDPO88Fi7uQcr+0IAbt3fqwdjVIE0EJJurrJw+ZM82PiUIzcZzJI3VDhbjdReOdXxRxOa5PXkcai87Mzip27B748sVjIX96FHJAYn1T+gu2E+WV6/wtbg3MH4yTtb1srJQVdW3k6SefqDXIWSQlWu62eT44NTShJaHp5Z2Y6Fja8kXVzR9gzgzw7fux5+4j/Oj99qkaP78hSPjSaBfIL2OvG0BtKnty/eaGZyPfnyr/O68Yp0VDm66OtipvSO3CHb6ygVJl06yV30Bac42+VtofHAXuO9hU3jSWkjVeHP/bbfWhtR9SVIcIsZHiW0VXQ7WyL3ROwRmRkyGOk8bTVOjgu9X8aKlQqh5ENTNCVrFGz1tKVSNFvH3ixvhAXx8nD4XrJLnXKN5/t/4GCKybb65MkvjEbm2aMUgY8mkiyT/AtLPweWzphVgeQ5eDB8vzrVyQ6JbjbNcHE+OCEUBdL6hNsorBGVuMWfkuVe3iQjbpyxMBQX45rgwBfhnCwLXuztbumsV7XOYLYtDLe6GGexag7Nao10+pDZW5pLmKbf6OJ+6IoFV0xOci1erqb03aqCWISaS3gpiWVGwyHEyRSUMRkImVbPjWhm+GB8jzTIDZiOSrTHTMtiZBzRgw7i7fBj0WzNaYufQAOP8Gff5OGjiqNS294jInMSkN2zxYeWTagP+6J+eer/7jyw8qAhSaGcjsZ617T31FRfYsS58+Qx5jmjedxL61YeU5QzuRHxNhA+4VM5/Xo9uExtVFyW/5LuFrMoS/+ab73Ei7zBcshq7X4/Ea3GoUbiAYlT6nYaGszNQdGh+38hJ2sS+OsSZcdu2INeZMk93MIik9fPreXSqoyJO+dVWplQcZqrClNhXFSQ16gntKW76/Pz3X72Qy9vzQsJsx9LV39K95b4PaoWYIHndOxrGkm3QHLsc0yWWjXeh2Sst+/Vg590ElEMZ9ejSRtlvkwf0VmPa1rj6Fo6SVf59CoabErcQ1OdONAVV82xUk9iwDvwvr8+ZCPZCOpIkxahifcgHbFUPb3aMm8AQB8k6e7+qslyH2mK5e66iehVAy7xoPrqPkQKfeXvOmijz67mBulOiikktqLiX+VsdUD5OCjxLJyT56FmW0Ni5SpOfA0r7oCdDSXRkerNpYK6oH1G0EjGF726UDDUmn8L1ES2R02bX6ES2C78kMVjqREsrdy0amCZKFA1DxmWlWYfXL3zSQmQcYuEqstZxnuD98aJZGrHS5CMBtQ4DmRD8ci58cgE5rpwL2WmSL9uU8fJ3IdJBBQXHtDNz0EHIw6VYleMVipFZz7Oglu1UdgE74bCa6aVmxNvJK2uAo4IfTY7ELKwdMk3V4Zu4z4FAn7Eq9su0S9HCxCAEQaChnEhlqGgkX4f1guw/ZWWo8J4Sg9FnpsQblZoh4Dnoaqz/UHPJ5AiwsJas43ijRGKMcXRGMH80riWzJyqjWTV4dY9RjsNwNdYTjpmm6ANInnnM4pwiR0Y9QMn+HIZHqmVmwJ+MM3Rwf6DOUWnvxUnO0fFxD+CNAwiLAytoBpWGS2QdlEvHwsmLsAvUe+VRQuld+rj3h6C1u0/Y5cN2cXV1lFkm6agGCWu7y8Hr/W7YuFB7vMynpCgPfeoDhjIPLW6eFDD4e0Me2ulSvHOT5S6+b4xwkCwBs0Bl9RgV3eeguJ40/MRNwwF6P2salF5fJTeHRTMrJR7IG+0gre/rbfrgM4YwmwAjLRwg7hWmZijShijl0YgB911lqcQaUMznEy0iXTK6v6lrV+A3aTaP/Bwyauntsv/HJ0WMfhk/0ilJaARLsXAPYnveI8J6D86UBmcZ80smwY+Hd2wWZ2vwSQwZc5EQhtI4IFDEuF5eRWi8yxrEVIDc9/fL1Fo4U1pkMCx2FQ413LTykzkbV34rkKuv4633CFdIvLV5snP6UuwjY8dwg5iiekuaZQgLdVWWX9I0AWWQgzURS8y1rvkqAe3kEWvZ0GHzPKrYdQUhz4QLjF4iXp/jm7KJRJsZm+nZhCCaRl3FNy9ZzTFSwQNo5eWo3Z721fpaS8L+hs8ZbRZy0ObGtRQ6qiJNPaXjXLgvqMAidz8otVqE3rquQQJ+Gkm9zdacZaSuLotXkC8xoLRQL2W76xtHYq/+t/hmd/7qaPOQNCsuG5lbn1AvcX2WV5/siVaybWBkasx8hCSOC5yxEw5Y8LTxEFDmy7H50uYjDMjmib+HH0KUU8Z/DNU6x+JpIjihGSVRd1DUzzyQuYXsIxQ+0TgWUFwpGLJxLiKJ3JEV4+kqHYeDvTZBz8yE6LYVvrYspAYQpxyRe2o6NeYFttOmTv6nQuylOyMEGTOoCZ1UHSqlDjaY1hv6i3gYg/2boafW3ZOP4etvFEQXmhymvU29rp88aMBX8VuDD8J4STMmqFNfhGKOrasxBLBeLobh80K+2GNLXnyfCV8xGDOHjA9u4sMu1KA2++2cM56MLOcv9Tdk74NNH7Xy7jtPzWUXzVgrBIeFqtxfg9pe52R6sWDje36gp7uGTNsAm/vAjoDoUcw4QJgLbOwR7bVXjPu+epF8mcKnaSHwM0EZ2E5Mmkg4z2CSXxJ95LwasJe8WpHR4KWz/c6yxETsFGteTNmmAhkiSOI2CGjZKpkjC15u34A4IU8bj11B1aDuXbP1c3hhfZ+mSC+3DFD6wV7Ql+L0ti6DEjDMHyLwRQQL5Kp0EnR42o3syQCbsv9rDZbzuRd5rUflZ31zUJipEy2coEHQlIE1d8JkmoGW5DarLBopQyVrWh+2wiMGU3RUKdLICUnq+MPgcEvzOXej2/6iCDlJHo9kqPuENS1nU9te8ihDy5Q9t41cF/P22aCsYGBwlXp5oHfvb5dUFPBoj49SxR6ZW4fU2rV9WC3sUEpI1EqBjEgdRop+Ip6ahOPl1AN5imcnWvbeRbOF2Wga3HiwjfL2vxW1tpgJHleB3wWR9L7LdsFxhvBgFI7/BpAcsNnfeJIapDtCh2MXOTTD7hHc+f+UuT0VeuJOi+utAa2brTJSUeuvkQyxuWSiOO0CbXpRKZnC5h62kdZPPooQcbNLkBhpTk3fCG06pAv1YuPWrFsQCGJd4++LMLaw+A1WITJuy613g2lJQyRO3E7RsGax5moTo57xibKqGbuJhmXI3vi9L+5fjddpp5PgQQsk6yFuuaUMuz6HnTYqQJs6muNUOsgUy3H1vGnBSu9QbHOU3jGLpCK1LYO7ti7qse3xzrZDBhCcArs3OrCzUeg5mYddl5nL9FqTritR8XQB3YFWdIcL79ezz02LCWVP0TsJf3I6b0vnx2PMq6G9virFfkjTUCB8S6PunHWG4Ns3+BkvtJUQ4l8JmyJK3nrjoL2TykFE6Dpmb5rJK6HKSYZH5WYtQS3WOjv91iv6vY5+uoDjsuSC8uXPabzF32m8X/z2pejaYeE+eaUieWZoAXmzoFgBMEj+fvjZWmqaDILo103VfSv5tB3FHXhkE4ou4AONmuDGgHj2jBjMIOAwJ0iWZ2sck483/2hY2Xn21g/CKnOa6TzPxWha+FIhsbiRd6gsvfEHDcFwuPt332y3T1ns7bcvMQ5kxKykmscSL+ATFAJUkWAPEGnsPyZzFxFC5xOXZstE6rnJu8/0LhTXmjxlX4KhMHGZRwThbAN4si/gjkJWt20rc/ZB3VIrkQ9lHHp1On8rAsSwmop4nu5g81LgEBqJceD1m9iJxNwrwbgCJistQXF3siMoRZyE2QRhxf264mBAx40H3nVxqCQ/uslkP9hThaWMYjdThIr2gkg6DN5Zi4aT+ngY/tCQcp452UdNYqFVXBkVvP557VqA1/NF2ZJhL5suARvLDlbhB4Ce7L78jfLMLDRhSK5KtVDA0Ou6A7GnhOsGSsxqdKF4qsf8ggedVKfNYRoebnZQ7UdKE9yvAf3AqJT6B0mVS84I7ngEuIljyvwvHoaVhY+3vRG0ZsYyPRtbbLjrnivUJbidGyEUn9NivyvLjC28dPgfdPcggBQmPKW2aAkZL1g+B4SrL8xHZsFegRmjLkUr0ptT6CBfVQnDU2kKs9WX4iKp3sDonYbfcf6uqDh8D73IsLnXhrwlZYggT5ty5CElK9owXH/vAO3/KfwGWFy7c0as2MfYLtQm6PHrBiB2lXKmErzovAgWpUZss8Zz3IezzGawdYKjcOiEr7yqn3uVrL/fsJzpCQ9iD5/mm4odQOIXr1OZhiLLw9OIRXGPnSCtnb/V5Tf5caz6LKLfc/fI4/tA0/QfT2VN8NzNRnkJfoomHbiXKi32JGgFJNfdG00FlDG9HoVvcTQ/eTJHGv168C508JWnoDjkYD9JsXh7QPRiqo3rQXJ8L6TiM2SdWMLWqygBtPkE70s6YRODlwKa1W7li/KRtJZrrBa08CpHbyDxAKpCdU0BY36IvRYe9BdpXb2F3V+dkOtIU3NYe2FbavIzf74lhx9OhjYgNXmCCtpwz+Ovg7ugpu7ffHa4DFINliRtYWNDbP7NFq3l4djZFQ8sS8Y5axnfXop+sasbeWMPEhxZiSQsAyC+1JhDulwmxrZOxvzj8JsU993xJi/s1sPcIlm+HlxwIwHhgvwUgilOmrq4LklnGZGeRxHEbIoha8ag0XyxyncCrOkfkBHRwDUk0lyTFVKPzvm0ImGm99tP5bBjgmY0/SanCkKPr3l8+oUe2VjltuvtY1r+r+UrO/xsJ1ULx3zk1HWBsmO4251S8wk7OOdf1soOwTPlcF54JDdeRehnT+kAPdwmRu/XkrOqnLpPEgG2TtKvC1mqF9eLJBk6C0JBEt+aANBXWy6HTbEGARIYw37IenIoVBu6Z2NnGOOXicPEgg/rTFEuLIwmOkeY3FohSyjU9sv0M2J6rwt1uNdm4xBRu7fD6mhOG7VB/a+uFMsVY3c9YLKmYm0oSWiSVoW9Z6jRFXGnJicXG/my64yNPEFsFAyJ5EmLWS0PUPANHX6FP5Vi4c1CR08r6FBUySgEdpt4WOGO+Sc20bcSiuJm03I9SKSn/VEBpeWliFovT1EMEAa0B6sOFgzqmsWGOZU1A0aM9K/d2qBR0sFRZSbQp3MvelCVHymrvyABgWJzPM1ixedcoVQULM9pwNzBXfzUOuLByZtMNu22pyo0se7rhuBdvhJDCV0qPHk8YoxRHpwABcXUa6XlYAV9UsfdJFnZtYYw6TVZx0vIwWBrTO/+/GG1rjKzsVEFGAkD1b9wCY4jiVIvMyphELWOCQN8g3RTwnsJ/7axEqgh3VfEB5ujh1xwN5t8qnHHVWZ4BM1dxBiyA12DNvf9budGWY0YI5aFlkPyv4wqhvN0BeaHeXwO1qsrx2OiZgobGwLFhXo+DUsb5gh+JbgMj79S1C+sZzAGRkpjtiuBxIZ0GwvqKFJrXoL/UcSQzkOlPO4QlptQv1c2/Pnc9CcQAfbbSbw7vrdSvXscwB1QnOmYsRvV6kmu7PbRlmn/N4pLWLqx8np+APUjVWScfkh2qdVQr01dGp0799avFjzemuG/4/nOPkgOH29sxg6z6jsU2VpBkeceeYAF1AOt9nPbwx/t6OaDgWjrtsvvSaJfbuqWg29pDzxXspQymLo5xNxtYWs90NllQ/Is4wrXCkrB0RsWzxoXpi14iE5CG2J8IYQSfEYCmCXBhY2ICV4WWF0AVGQ0EfS0ndVZNX2UiyiktYnW5cuauyHtgO2NIHH6sPftC4cPEcBJ9SlASK2RYvaswyMLk/CbZV24aOdDrkNOCAXuvBQ0AB40+A+OfEd9atN8QLfCVXdC/sHWJq2FHkn0dDw+69uxXjadJOHJR129mH8SWcEubkIL6Rdy843v/+xEi+V1WIBhwDpLKK5D/Cftf+lsrEhjU26wJHCV1s8xcDFNrZMIMH8k95z3y3QTf7tDKGAkXxi7j9DvQYp+d7qyCIInm59E7QeWrv12xBCDCU3KYdu52wXlVw2gk5Kz2rv36I7hTSjrzzPnjMlMeKLllncExI6rRmk34S034zt6ksWzO0olKq4owjJ70BT4E2iFlUtHIRW0nTrNv0hPiivWsyyThdXtOzFVL34dBpNKzqAJhAsEysm1+MV6iRcszEHbmtMEstVzH3Z7e76USQ/pPRVmcPQjnidnI0LYNvZHk9IRpn9IjwayzyX0H0IumQnb6qC1YYgOlgWunptMWOfnpbiUq7AL3MIn5PeSjpEqe+ZdkpXYLkGzioYva/sIdQlZBloHB5WX/ZgKwnrbHzMxPtMdkJRVaB+wQdDoo5D5Zkl/W+4a/R1CSTKJzf1i++dTk7K0PDpjyEPil/64k9VNAwnY19X2YLFPik37GlCK3Aca5u8CXNCPZadKSRQMU+dUed+BlwAV5X6JGBqKTQuq9vp8qgnhIfuqjbUvd6LTq416V/CEq/v1lx9r+z1liqa+ePhcfobRthY/KUMv7zE7zjKyUQKFOgVwX7x20I750+sUkny4AxtdiH/IG1T87BTaYlTGDNbLlDTlRxVSZyx3BLrREEMrNeWfIB8uSLhUFR4493Z6VmES06jhEozN9nhZ1fWKIB307Yo+EP4DuPztkjQesxrr+whOdOSoCm9W6CyWdNXRNEWeZOnPXi/ekzVagu/sih383+YZkfypggwpr4f0zbX/T72DqwYIB1H81/j4yowj9HouLJ3khP8zDXgi4kBDUTyBFnLgdH5nY/zVb5P4MR2rH3nhu1Fe6WjyvpickKxgsO/Vwen1h4Je1TmkN6L1MU6yHDl8ExyvGEo69kwAOuS1Kh9v8u4EGp7iegYprHeE6fS/GcNBb2C1eFSFKtRnBIbLaCK4bj8c2AD7SGxBGUs3WeUjIuHd5vAdPDILQrR/2UuDHiHQUmv9n4JHKpMOtg1bfxLsMVjgqDmcwAmQqccrSgOkmV5w0v6b8jz8K1UGOCejEqmd8AzQkY/I+KFh2jd+OCdICO8lAnegkUAoW3eSbR7TiyykoEOOWxRzOUHd/Mb1ktf8pk1DB+e1MUhKIqgtdkgT+VOWehQCCQae51SfyJof1eF0MOqGnv/VzNrI4jUdyRJ2WpaoLyuJIK9kzUD6KrtrXO51yrkWZqKGntqJcMvRXRbku5wMcLdeLGDr+J34nvAMINZ1Y9hCK9TtryJ49j3IKyeKusw12psIAWUeSNocNR5+11SNK1jKlRDGIOw0R9dQLWsH0x60JWHMAZLKYj615qc4eFz3+jpD93wKRtiTeHNyuXWkl6llZ5sZ/ZBizNOFm10r6LIfEL9VYnDHfDB7Pjnu5vPiimpHkn/ZZ6ndC2xpbuTeLjM8s9Io7tWU3bOgYG0VlBPeDqOswKtXCIZOo4cvynKpnCCKLkQoZLZOsPcjxPKbUBbABsOhvzCa2dRCOvzsBSiBcDbD0q/F3AVXB5Z/uTb55vX2QTu+MCwCE6d8YyP5Wq4cAMXpW589CQdkUlH/10L31mFu8QvVrBV/VynGSA==" title="Mekko Graphics Chart">
            <a:extLst>
              <a:ext uri="{FF2B5EF4-FFF2-40B4-BE49-F238E27FC236}">
                <a16:creationId xmlns:a16="http://schemas.microsoft.com/office/drawing/2014/main" id="{DD351923-AAC1-EC85-A5C3-C3A28517E7E7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8383554" y="1401005"/>
            <a:ext cx="3461916" cy="5672815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43" name="btfpColumnHeaderBox424384">
            <a:extLst>
              <a:ext uri="{FF2B5EF4-FFF2-40B4-BE49-F238E27FC236}">
                <a16:creationId xmlns:a16="http://schemas.microsoft.com/office/drawing/2014/main" id="{F9C9A1C1-967D-98F2-4F14-491FD4FD2C5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378297" y="1348144"/>
            <a:ext cx="3478742" cy="285433"/>
            <a:chOff x="330200" y="1009470"/>
            <a:chExt cx="11531600" cy="56890"/>
          </a:xfrm>
        </p:grpSpPr>
        <p:sp>
          <p:nvSpPr>
            <p:cNvPr id="44" name="btfpColumnHeaderBoxText424384">
              <a:extLst>
                <a:ext uri="{FF2B5EF4-FFF2-40B4-BE49-F238E27FC236}">
                  <a16:creationId xmlns:a16="http://schemas.microsoft.com/office/drawing/2014/main" id="{0C0FE3A2-CA5B-EAFE-A459-A030815A3C52}"/>
                </a:ext>
              </a:extLst>
            </p:cNvPr>
            <p:cNvSpPr txBox="1"/>
            <p:nvPr/>
          </p:nvSpPr>
          <p:spPr bwMode="gray">
            <a:xfrm>
              <a:off x="330200" y="1009470"/>
              <a:ext cx="11531600" cy="5689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kumimoji="1" lang="en-US" altLang="ja-JP" sz="1400" b="1">
                  <a:solidFill>
                    <a:srgbClr val="000000"/>
                  </a:solidFill>
                </a:rPr>
                <a:t>Social media is the preferred channel</a:t>
              </a:r>
              <a:endParaRPr kumimoji="1" lang="en-US" altLang="ja-JP" sz="1400" b="1">
                <a:solidFill>
                  <a:srgbClr val="CC0000"/>
                </a:solidFill>
              </a:endParaRPr>
            </a:p>
          </p:txBody>
        </p:sp>
        <p:cxnSp>
          <p:nvCxnSpPr>
            <p:cNvPr id="45" name="btfpColumnHeaderBoxLine424384">
              <a:extLst>
                <a:ext uri="{FF2B5EF4-FFF2-40B4-BE49-F238E27FC236}">
                  <a16:creationId xmlns:a16="http://schemas.microsoft.com/office/drawing/2014/main" id="{76AC0C6D-B42F-7218-9415-43030ED93010}"/>
                </a:ext>
              </a:extLst>
            </p:cNvPr>
            <p:cNvCxnSpPr/>
            <p:nvPr/>
          </p:nvCxnSpPr>
          <p:spPr bwMode="gray">
            <a:xfrm>
              <a:off x="330200" y="1066360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15105E19-71E7-57E2-698B-C29657B63B3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4428"/>
            <a:ext cx="258172" cy="257443"/>
          </a:xfrm>
          <a:prstGeom prst="rect">
            <a:avLst/>
          </a:prstGeom>
        </p:spPr>
      </p:pic>
      <p:grpSp>
        <p:nvGrpSpPr>
          <p:cNvPr id="53" name="btfpRunningAgenda1Level392144">
            <a:extLst>
              <a:ext uri="{FF2B5EF4-FFF2-40B4-BE49-F238E27FC236}">
                <a16:creationId xmlns:a16="http://schemas.microsoft.com/office/drawing/2014/main" id="{1B91A4B1-4C45-78B5-6A26-1E9CDEED1E0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-1" y="944429"/>
            <a:ext cx="2781431" cy="257442"/>
            <a:chOff x="-1" y="876300"/>
            <a:chExt cx="2781431" cy="257442"/>
          </a:xfrm>
        </p:grpSpPr>
        <p:sp>
          <p:nvSpPr>
            <p:cNvPr id="54" name="btfpRunningAgenda1LevelBarLeft392144">
              <a:extLst>
                <a:ext uri="{FF2B5EF4-FFF2-40B4-BE49-F238E27FC236}">
                  <a16:creationId xmlns:a16="http://schemas.microsoft.com/office/drawing/2014/main" id="{FB94ECD8-0A6F-BAFC-CD2B-5C680AE66606}"/>
                </a:ext>
              </a:extLst>
            </p:cNvPr>
            <p:cNvSpPr/>
            <p:nvPr/>
          </p:nvSpPr>
          <p:spPr bwMode="gray">
            <a:xfrm>
              <a:off x="-1" y="876300"/>
              <a:ext cx="278143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247356 w 1247356"/>
                <a:gd name="connsiteY0" fmla="*/ 0 h 257442"/>
                <a:gd name="connsiteX1" fmla="*/ 888065 w 1247356"/>
                <a:gd name="connsiteY1" fmla="*/ 257442 h 257442"/>
                <a:gd name="connsiteX2" fmla="*/ 0 w 1247356"/>
                <a:gd name="connsiteY2" fmla="*/ 257442 h 257442"/>
                <a:gd name="connsiteX3" fmla="*/ 0 w 1247356"/>
                <a:gd name="connsiteY3" fmla="*/ 0 h 257442"/>
                <a:gd name="connsiteX0" fmla="*/ 1247356 w 1247356"/>
                <a:gd name="connsiteY0" fmla="*/ 0 h 257442"/>
                <a:gd name="connsiteX1" fmla="*/ 1192634 w 1247356"/>
                <a:gd name="connsiteY1" fmla="*/ 257442 h 257442"/>
                <a:gd name="connsiteX2" fmla="*/ 0 w 1247356"/>
                <a:gd name="connsiteY2" fmla="*/ 257442 h 257442"/>
                <a:gd name="connsiteX3" fmla="*/ 0 w 1247356"/>
                <a:gd name="connsiteY3" fmla="*/ 0 h 257442"/>
                <a:gd name="connsiteX0" fmla="*/ 1247357 w 1247357"/>
                <a:gd name="connsiteY0" fmla="*/ 0 h 257442"/>
                <a:gd name="connsiteX1" fmla="*/ 1192635 w 1247357"/>
                <a:gd name="connsiteY1" fmla="*/ 257442 h 257442"/>
                <a:gd name="connsiteX2" fmla="*/ 0 w 1247357"/>
                <a:gd name="connsiteY2" fmla="*/ 257442 h 257442"/>
                <a:gd name="connsiteX3" fmla="*/ 1 w 1247357"/>
                <a:gd name="connsiteY3" fmla="*/ 0 h 257442"/>
                <a:gd name="connsiteX0" fmla="*/ 1247357 w 1247357"/>
                <a:gd name="connsiteY0" fmla="*/ 0 h 257442"/>
                <a:gd name="connsiteX1" fmla="*/ 1192635 w 1247357"/>
                <a:gd name="connsiteY1" fmla="*/ 257442 h 257442"/>
                <a:gd name="connsiteX2" fmla="*/ 0 w 1247357"/>
                <a:gd name="connsiteY2" fmla="*/ 257442 h 257442"/>
                <a:gd name="connsiteX3" fmla="*/ 1 w 1247357"/>
                <a:gd name="connsiteY3" fmla="*/ 0 h 257442"/>
                <a:gd name="connsiteX0" fmla="*/ 1407657 w 1407657"/>
                <a:gd name="connsiteY0" fmla="*/ 0 h 257442"/>
                <a:gd name="connsiteX1" fmla="*/ 1192635 w 1407657"/>
                <a:gd name="connsiteY1" fmla="*/ 257442 h 257442"/>
                <a:gd name="connsiteX2" fmla="*/ 0 w 1407657"/>
                <a:gd name="connsiteY2" fmla="*/ 257442 h 257442"/>
                <a:gd name="connsiteX3" fmla="*/ 1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0 w 1407657"/>
                <a:gd name="connsiteY2" fmla="*/ 257442 h 257442"/>
                <a:gd name="connsiteX3" fmla="*/ 1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575973 w 1575973"/>
                <a:gd name="connsiteY0" fmla="*/ 0 h 257442"/>
                <a:gd name="connsiteX1" fmla="*/ 1352936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3 w 1575973"/>
                <a:gd name="connsiteY0" fmla="*/ 0 h 257442"/>
                <a:gd name="connsiteX1" fmla="*/ 1521252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3 w 1575973"/>
                <a:gd name="connsiteY0" fmla="*/ 0 h 257442"/>
                <a:gd name="connsiteX1" fmla="*/ 1521252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407655 w 1521251"/>
                <a:gd name="connsiteY0" fmla="*/ 0 h 257442"/>
                <a:gd name="connsiteX1" fmla="*/ 1521251 w 1521251"/>
                <a:gd name="connsiteY1" fmla="*/ 257442 h 257442"/>
                <a:gd name="connsiteX2" fmla="*/ 0 w 1521251"/>
                <a:gd name="connsiteY2" fmla="*/ 257442 h 257442"/>
                <a:gd name="connsiteX3" fmla="*/ 0 w 1521251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575972 w 1575972"/>
                <a:gd name="connsiteY0" fmla="*/ 0 h 257442"/>
                <a:gd name="connsiteX1" fmla="*/ 1352935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829248 w 1829248"/>
                <a:gd name="connsiteY0" fmla="*/ 0 h 257442"/>
                <a:gd name="connsiteX1" fmla="*/ 1521251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0 w 1829248"/>
                <a:gd name="connsiteY3" fmla="*/ 0 h 257442"/>
                <a:gd name="connsiteX0" fmla="*/ 1989547 w 1989547"/>
                <a:gd name="connsiteY0" fmla="*/ 0 h 257442"/>
                <a:gd name="connsiteX1" fmla="*/ 17745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436784 w 2436784"/>
                <a:gd name="connsiteY0" fmla="*/ 0 h 257442"/>
                <a:gd name="connsiteX1" fmla="*/ 2095126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4 w 2436784"/>
                <a:gd name="connsiteY0" fmla="*/ 0 h 257442"/>
                <a:gd name="connsiteX1" fmla="*/ 2382062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5 w 2436785"/>
                <a:gd name="connsiteY0" fmla="*/ 0 h 257442"/>
                <a:gd name="connsiteX1" fmla="*/ 2382063 w 2436785"/>
                <a:gd name="connsiteY1" fmla="*/ 257442 h 257442"/>
                <a:gd name="connsiteX2" fmla="*/ 0 w 2436785"/>
                <a:gd name="connsiteY2" fmla="*/ 257442 h 257442"/>
                <a:gd name="connsiteX3" fmla="*/ 1 w 2436785"/>
                <a:gd name="connsiteY3" fmla="*/ 0 h 257442"/>
                <a:gd name="connsiteX0" fmla="*/ 2436785 w 2436785"/>
                <a:gd name="connsiteY0" fmla="*/ 0 h 257442"/>
                <a:gd name="connsiteX1" fmla="*/ 2382063 w 2436785"/>
                <a:gd name="connsiteY1" fmla="*/ 257442 h 257442"/>
                <a:gd name="connsiteX2" fmla="*/ 0 w 2436785"/>
                <a:gd name="connsiteY2" fmla="*/ 257442 h 257442"/>
                <a:gd name="connsiteX3" fmla="*/ 1 w 2436785"/>
                <a:gd name="connsiteY3" fmla="*/ 0 h 257442"/>
                <a:gd name="connsiteX0" fmla="*/ 2597086 w 2597086"/>
                <a:gd name="connsiteY0" fmla="*/ 0 h 257442"/>
                <a:gd name="connsiteX1" fmla="*/ 2382063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0 w 2597086"/>
                <a:gd name="connsiteY3" fmla="*/ 0 h 257442"/>
                <a:gd name="connsiteX0" fmla="*/ 2765400 w 2765400"/>
                <a:gd name="connsiteY0" fmla="*/ 0 h 257442"/>
                <a:gd name="connsiteX1" fmla="*/ 2542364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3034705 w 3034705"/>
                <a:gd name="connsiteY0" fmla="*/ 0 h 257442"/>
                <a:gd name="connsiteX1" fmla="*/ 2710679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290288 w 3290288"/>
                <a:gd name="connsiteY0" fmla="*/ 0 h 257442"/>
                <a:gd name="connsiteX1" fmla="*/ 2979984 w 3290288"/>
                <a:gd name="connsiteY1" fmla="*/ 257442 h 257442"/>
                <a:gd name="connsiteX2" fmla="*/ 0 w 3290288"/>
                <a:gd name="connsiteY2" fmla="*/ 257442 h 257442"/>
                <a:gd name="connsiteX3" fmla="*/ 0 w 3290288"/>
                <a:gd name="connsiteY3" fmla="*/ 0 h 257442"/>
                <a:gd name="connsiteX0" fmla="*/ 3290288 w 3290288"/>
                <a:gd name="connsiteY0" fmla="*/ 0 h 257442"/>
                <a:gd name="connsiteX1" fmla="*/ 3235566 w 3290288"/>
                <a:gd name="connsiteY1" fmla="*/ 257442 h 257442"/>
                <a:gd name="connsiteX2" fmla="*/ 0 w 3290288"/>
                <a:gd name="connsiteY2" fmla="*/ 257442 h 257442"/>
                <a:gd name="connsiteX3" fmla="*/ 0 w 3290288"/>
                <a:gd name="connsiteY3" fmla="*/ 0 h 257442"/>
                <a:gd name="connsiteX0" fmla="*/ 3290289 w 3290289"/>
                <a:gd name="connsiteY0" fmla="*/ 0 h 257442"/>
                <a:gd name="connsiteX1" fmla="*/ 3235567 w 3290289"/>
                <a:gd name="connsiteY1" fmla="*/ 257442 h 257442"/>
                <a:gd name="connsiteX2" fmla="*/ 0 w 3290289"/>
                <a:gd name="connsiteY2" fmla="*/ 257442 h 257442"/>
                <a:gd name="connsiteX3" fmla="*/ 1 w 3290289"/>
                <a:gd name="connsiteY3" fmla="*/ 0 h 257442"/>
                <a:gd name="connsiteX0" fmla="*/ 3290289 w 3290289"/>
                <a:gd name="connsiteY0" fmla="*/ 0 h 257442"/>
                <a:gd name="connsiteX1" fmla="*/ 3235567 w 3290289"/>
                <a:gd name="connsiteY1" fmla="*/ 257442 h 257442"/>
                <a:gd name="connsiteX2" fmla="*/ 0 w 3290289"/>
                <a:gd name="connsiteY2" fmla="*/ 257442 h 257442"/>
                <a:gd name="connsiteX3" fmla="*/ 1 w 3290289"/>
                <a:gd name="connsiteY3" fmla="*/ 0 h 257442"/>
                <a:gd name="connsiteX0" fmla="*/ 3450589 w 3450589"/>
                <a:gd name="connsiteY0" fmla="*/ 0 h 257442"/>
                <a:gd name="connsiteX1" fmla="*/ 3235567 w 3450589"/>
                <a:gd name="connsiteY1" fmla="*/ 257442 h 257442"/>
                <a:gd name="connsiteX2" fmla="*/ 0 w 3450589"/>
                <a:gd name="connsiteY2" fmla="*/ 257442 h 257442"/>
                <a:gd name="connsiteX3" fmla="*/ 1 w 3450589"/>
                <a:gd name="connsiteY3" fmla="*/ 0 h 257442"/>
                <a:gd name="connsiteX0" fmla="*/ 3450589 w 3450589"/>
                <a:gd name="connsiteY0" fmla="*/ 0 h 257442"/>
                <a:gd name="connsiteX1" fmla="*/ 3395868 w 3450589"/>
                <a:gd name="connsiteY1" fmla="*/ 257442 h 257442"/>
                <a:gd name="connsiteX2" fmla="*/ 0 w 3450589"/>
                <a:gd name="connsiteY2" fmla="*/ 257442 h 257442"/>
                <a:gd name="connsiteX3" fmla="*/ 1 w 3450589"/>
                <a:gd name="connsiteY3" fmla="*/ 0 h 257442"/>
                <a:gd name="connsiteX0" fmla="*/ 3450588 w 3450588"/>
                <a:gd name="connsiteY0" fmla="*/ 0 h 257442"/>
                <a:gd name="connsiteX1" fmla="*/ 3395867 w 3450588"/>
                <a:gd name="connsiteY1" fmla="*/ 257442 h 257442"/>
                <a:gd name="connsiteX2" fmla="*/ 0 w 3450588"/>
                <a:gd name="connsiteY2" fmla="*/ 257442 h 257442"/>
                <a:gd name="connsiteX3" fmla="*/ 0 w 3450588"/>
                <a:gd name="connsiteY3" fmla="*/ 0 h 257442"/>
                <a:gd name="connsiteX0" fmla="*/ 3450589 w 3450589"/>
                <a:gd name="connsiteY0" fmla="*/ 0 h 257442"/>
                <a:gd name="connsiteX1" fmla="*/ 3395868 w 3450589"/>
                <a:gd name="connsiteY1" fmla="*/ 257442 h 257442"/>
                <a:gd name="connsiteX2" fmla="*/ 1 w 3450589"/>
                <a:gd name="connsiteY2" fmla="*/ 257442 h 257442"/>
                <a:gd name="connsiteX3" fmla="*/ 0 w 3450589"/>
                <a:gd name="connsiteY3" fmla="*/ 0 h 257442"/>
                <a:gd name="connsiteX0" fmla="*/ 3610889 w 3610889"/>
                <a:gd name="connsiteY0" fmla="*/ 0 h 257442"/>
                <a:gd name="connsiteX1" fmla="*/ 33958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9 w 3610889"/>
                <a:gd name="connsiteY0" fmla="*/ 0 h 257442"/>
                <a:gd name="connsiteX1" fmla="*/ 35561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9 w 3610889"/>
                <a:gd name="connsiteY0" fmla="*/ 0 h 257442"/>
                <a:gd name="connsiteX1" fmla="*/ 35561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8 w 3610888"/>
                <a:gd name="connsiteY0" fmla="*/ 0 h 257442"/>
                <a:gd name="connsiteX1" fmla="*/ 3556167 w 3610888"/>
                <a:gd name="connsiteY1" fmla="*/ 257442 h 257442"/>
                <a:gd name="connsiteX2" fmla="*/ 0 w 3610888"/>
                <a:gd name="connsiteY2" fmla="*/ 257442 h 257442"/>
                <a:gd name="connsiteX3" fmla="*/ 0 w 3610888"/>
                <a:gd name="connsiteY3" fmla="*/ 0 h 257442"/>
                <a:gd name="connsiteX0" fmla="*/ 3779202 w 3779202"/>
                <a:gd name="connsiteY0" fmla="*/ 0 h 257442"/>
                <a:gd name="connsiteX1" fmla="*/ 3556167 w 3779202"/>
                <a:gd name="connsiteY1" fmla="*/ 257442 h 257442"/>
                <a:gd name="connsiteX2" fmla="*/ 0 w 3779202"/>
                <a:gd name="connsiteY2" fmla="*/ 257442 h 257442"/>
                <a:gd name="connsiteX3" fmla="*/ 0 w 3779202"/>
                <a:gd name="connsiteY3" fmla="*/ 0 h 257442"/>
                <a:gd name="connsiteX0" fmla="*/ 3779202 w 3779202"/>
                <a:gd name="connsiteY0" fmla="*/ 0 h 257442"/>
                <a:gd name="connsiteX1" fmla="*/ 3724481 w 3779202"/>
                <a:gd name="connsiteY1" fmla="*/ 257442 h 257442"/>
                <a:gd name="connsiteX2" fmla="*/ 0 w 3779202"/>
                <a:gd name="connsiteY2" fmla="*/ 257442 h 257442"/>
                <a:gd name="connsiteX3" fmla="*/ 0 w 3779202"/>
                <a:gd name="connsiteY3" fmla="*/ 0 h 257442"/>
                <a:gd name="connsiteX0" fmla="*/ 3779203 w 3779203"/>
                <a:gd name="connsiteY0" fmla="*/ 0 h 257442"/>
                <a:gd name="connsiteX1" fmla="*/ 3724482 w 3779203"/>
                <a:gd name="connsiteY1" fmla="*/ 257442 h 257442"/>
                <a:gd name="connsiteX2" fmla="*/ 0 w 3779203"/>
                <a:gd name="connsiteY2" fmla="*/ 257442 h 257442"/>
                <a:gd name="connsiteX3" fmla="*/ 1 w 3779203"/>
                <a:gd name="connsiteY3" fmla="*/ 0 h 257442"/>
                <a:gd name="connsiteX0" fmla="*/ 3779203 w 3779203"/>
                <a:gd name="connsiteY0" fmla="*/ 0 h 257442"/>
                <a:gd name="connsiteX1" fmla="*/ 3724482 w 3779203"/>
                <a:gd name="connsiteY1" fmla="*/ 257442 h 257442"/>
                <a:gd name="connsiteX2" fmla="*/ 0 w 3779203"/>
                <a:gd name="connsiteY2" fmla="*/ 257442 h 257442"/>
                <a:gd name="connsiteX3" fmla="*/ 1 w 3779203"/>
                <a:gd name="connsiteY3" fmla="*/ 0 h 257442"/>
                <a:gd name="connsiteX0" fmla="*/ 4099805 w 4099805"/>
                <a:gd name="connsiteY0" fmla="*/ 0 h 257442"/>
                <a:gd name="connsiteX1" fmla="*/ 3724482 w 4099805"/>
                <a:gd name="connsiteY1" fmla="*/ 257442 h 257442"/>
                <a:gd name="connsiteX2" fmla="*/ 0 w 4099805"/>
                <a:gd name="connsiteY2" fmla="*/ 257442 h 257442"/>
                <a:gd name="connsiteX3" fmla="*/ 1 w 4099805"/>
                <a:gd name="connsiteY3" fmla="*/ 0 h 257442"/>
                <a:gd name="connsiteX0" fmla="*/ 4099805 w 4099805"/>
                <a:gd name="connsiteY0" fmla="*/ 0 h 257442"/>
                <a:gd name="connsiteX1" fmla="*/ 4045084 w 4099805"/>
                <a:gd name="connsiteY1" fmla="*/ 257442 h 257442"/>
                <a:gd name="connsiteX2" fmla="*/ 0 w 4099805"/>
                <a:gd name="connsiteY2" fmla="*/ 257442 h 257442"/>
                <a:gd name="connsiteX3" fmla="*/ 1 w 4099805"/>
                <a:gd name="connsiteY3" fmla="*/ 0 h 257442"/>
                <a:gd name="connsiteX0" fmla="*/ 4099804 w 4099804"/>
                <a:gd name="connsiteY0" fmla="*/ 0 h 257442"/>
                <a:gd name="connsiteX1" fmla="*/ 4045083 w 4099804"/>
                <a:gd name="connsiteY1" fmla="*/ 257442 h 257442"/>
                <a:gd name="connsiteX2" fmla="*/ 0 w 4099804"/>
                <a:gd name="connsiteY2" fmla="*/ 257442 h 257442"/>
                <a:gd name="connsiteX3" fmla="*/ 0 w 4099804"/>
                <a:gd name="connsiteY3" fmla="*/ 0 h 257442"/>
                <a:gd name="connsiteX0" fmla="*/ 4099805 w 4099805"/>
                <a:gd name="connsiteY0" fmla="*/ 0 h 257442"/>
                <a:gd name="connsiteX1" fmla="*/ 4045084 w 4099805"/>
                <a:gd name="connsiteY1" fmla="*/ 257442 h 257442"/>
                <a:gd name="connsiteX2" fmla="*/ 1 w 4099805"/>
                <a:gd name="connsiteY2" fmla="*/ 257442 h 257442"/>
                <a:gd name="connsiteX3" fmla="*/ 0 w 4099805"/>
                <a:gd name="connsiteY3" fmla="*/ 0 h 257442"/>
                <a:gd name="connsiteX0" fmla="*/ 4378727 w 4378727"/>
                <a:gd name="connsiteY0" fmla="*/ 0 h 257442"/>
                <a:gd name="connsiteX1" fmla="*/ 4045084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7 w 4378727"/>
                <a:gd name="connsiteY0" fmla="*/ 0 h 257442"/>
                <a:gd name="connsiteX1" fmla="*/ 4324006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7 w 4378727"/>
                <a:gd name="connsiteY0" fmla="*/ 0 h 257442"/>
                <a:gd name="connsiteX1" fmla="*/ 4324006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6 w 4378726"/>
                <a:gd name="connsiteY0" fmla="*/ 0 h 257442"/>
                <a:gd name="connsiteX1" fmla="*/ 4324005 w 4378726"/>
                <a:gd name="connsiteY1" fmla="*/ 257442 h 257442"/>
                <a:gd name="connsiteX2" fmla="*/ 0 w 4378726"/>
                <a:gd name="connsiteY2" fmla="*/ 257442 h 257442"/>
                <a:gd name="connsiteX3" fmla="*/ 0 w 4378726"/>
                <a:gd name="connsiteY3" fmla="*/ 0 h 257442"/>
                <a:gd name="connsiteX0" fmla="*/ 4547041 w 4547041"/>
                <a:gd name="connsiteY0" fmla="*/ 0 h 257442"/>
                <a:gd name="connsiteX1" fmla="*/ 4324005 w 4547041"/>
                <a:gd name="connsiteY1" fmla="*/ 257442 h 257442"/>
                <a:gd name="connsiteX2" fmla="*/ 0 w 4547041"/>
                <a:gd name="connsiteY2" fmla="*/ 257442 h 257442"/>
                <a:gd name="connsiteX3" fmla="*/ 0 w 4547041"/>
                <a:gd name="connsiteY3" fmla="*/ 0 h 257442"/>
                <a:gd name="connsiteX0" fmla="*/ 4547041 w 4547041"/>
                <a:gd name="connsiteY0" fmla="*/ 0 h 257442"/>
                <a:gd name="connsiteX1" fmla="*/ 4492320 w 4547041"/>
                <a:gd name="connsiteY1" fmla="*/ 257442 h 257442"/>
                <a:gd name="connsiteX2" fmla="*/ 0 w 4547041"/>
                <a:gd name="connsiteY2" fmla="*/ 257442 h 257442"/>
                <a:gd name="connsiteX3" fmla="*/ 0 w 4547041"/>
                <a:gd name="connsiteY3" fmla="*/ 0 h 257442"/>
                <a:gd name="connsiteX0" fmla="*/ 4547042 w 4547042"/>
                <a:gd name="connsiteY0" fmla="*/ 0 h 257442"/>
                <a:gd name="connsiteX1" fmla="*/ 4492321 w 4547042"/>
                <a:gd name="connsiteY1" fmla="*/ 257442 h 257442"/>
                <a:gd name="connsiteX2" fmla="*/ 0 w 4547042"/>
                <a:gd name="connsiteY2" fmla="*/ 257442 h 257442"/>
                <a:gd name="connsiteX3" fmla="*/ 1 w 4547042"/>
                <a:gd name="connsiteY3" fmla="*/ 0 h 257442"/>
                <a:gd name="connsiteX0" fmla="*/ 4547042 w 4547042"/>
                <a:gd name="connsiteY0" fmla="*/ 0 h 257442"/>
                <a:gd name="connsiteX1" fmla="*/ 4492321 w 4547042"/>
                <a:gd name="connsiteY1" fmla="*/ 257442 h 257442"/>
                <a:gd name="connsiteX2" fmla="*/ 0 w 4547042"/>
                <a:gd name="connsiteY2" fmla="*/ 257442 h 257442"/>
                <a:gd name="connsiteX3" fmla="*/ 0 w 4547042"/>
                <a:gd name="connsiteY3" fmla="*/ 0 h 257442"/>
                <a:gd name="connsiteX0" fmla="*/ 950801 w 4492321"/>
                <a:gd name="connsiteY0" fmla="*/ 0 h 257442"/>
                <a:gd name="connsiteX1" fmla="*/ 4492321 w 4492321"/>
                <a:gd name="connsiteY1" fmla="*/ 257442 h 257442"/>
                <a:gd name="connsiteX2" fmla="*/ 0 w 4492321"/>
                <a:gd name="connsiteY2" fmla="*/ 257442 h 257442"/>
                <a:gd name="connsiteX3" fmla="*/ 0 w 449232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12089 w 1212089"/>
                <a:gd name="connsiteY0" fmla="*/ 0 h 257442"/>
                <a:gd name="connsiteX1" fmla="*/ 896080 w 1212089"/>
                <a:gd name="connsiteY1" fmla="*/ 257442 h 257442"/>
                <a:gd name="connsiteX2" fmla="*/ 0 w 1212089"/>
                <a:gd name="connsiteY2" fmla="*/ 257442 h 257442"/>
                <a:gd name="connsiteX3" fmla="*/ 0 w 1212089"/>
                <a:gd name="connsiteY3" fmla="*/ 0 h 257442"/>
                <a:gd name="connsiteX0" fmla="*/ 1212089 w 1212089"/>
                <a:gd name="connsiteY0" fmla="*/ 0 h 257442"/>
                <a:gd name="connsiteX1" fmla="*/ 1157368 w 1212089"/>
                <a:gd name="connsiteY1" fmla="*/ 257442 h 257442"/>
                <a:gd name="connsiteX2" fmla="*/ 0 w 1212089"/>
                <a:gd name="connsiteY2" fmla="*/ 257442 h 257442"/>
                <a:gd name="connsiteX3" fmla="*/ 0 w 1212089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1 w 1212090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465365 w 1465365"/>
                <a:gd name="connsiteY0" fmla="*/ 0 h 257442"/>
                <a:gd name="connsiteX1" fmla="*/ 1157369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633680 w 1633680"/>
                <a:gd name="connsiteY0" fmla="*/ 0 h 257442"/>
                <a:gd name="connsiteX1" fmla="*/ 1410644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8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801996 w 1801996"/>
                <a:gd name="connsiteY0" fmla="*/ 0 h 257442"/>
                <a:gd name="connsiteX1" fmla="*/ 1578959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0 w 1801996"/>
                <a:gd name="connsiteY3" fmla="*/ 0 h 257442"/>
                <a:gd name="connsiteX0" fmla="*/ 2055270 w 2055270"/>
                <a:gd name="connsiteY0" fmla="*/ 0 h 257442"/>
                <a:gd name="connsiteX1" fmla="*/ 174727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215570 w 2215570"/>
                <a:gd name="connsiteY0" fmla="*/ 0 h 257442"/>
                <a:gd name="connsiteX1" fmla="*/ 20005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375870 w 2375870"/>
                <a:gd name="connsiteY0" fmla="*/ 0 h 257442"/>
                <a:gd name="connsiteX1" fmla="*/ 21608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645175 w 2645175"/>
                <a:gd name="connsiteY0" fmla="*/ 0 h 257442"/>
                <a:gd name="connsiteX1" fmla="*/ 2321149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813491 w 2927084"/>
                <a:gd name="connsiteY0" fmla="*/ 0 h 257442"/>
                <a:gd name="connsiteX1" fmla="*/ 2927084 w 2927084"/>
                <a:gd name="connsiteY1" fmla="*/ 257442 h 257442"/>
                <a:gd name="connsiteX2" fmla="*/ 0 w 2927084"/>
                <a:gd name="connsiteY2" fmla="*/ 257442 h 257442"/>
                <a:gd name="connsiteX3" fmla="*/ 0 w 2927084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1 w 2813491"/>
                <a:gd name="connsiteY2" fmla="*/ 257442 h 257442"/>
                <a:gd name="connsiteX3" fmla="*/ 0 w 2813491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0 w 2813490"/>
                <a:gd name="connsiteY3" fmla="*/ 0 h 257442"/>
                <a:gd name="connsiteX0" fmla="*/ 2981804 w 2981804"/>
                <a:gd name="connsiteY0" fmla="*/ 0 h 257442"/>
                <a:gd name="connsiteX1" fmla="*/ 2758769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2981804 w 2981804"/>
                <a:gd name="connsiteY0" fmla="*/ 0 h 257442"/>
                <a:gd name="connsiteX1" fmla="*/ 2927083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1 w 2981805"/>
                <a:gd name="connsiteY3" fmla="*/ 0 h 257442"/>
                <a:gd name="connsiteX0" fmla="*/ 3150122 w 3150122"/>
                <a:gd name="connsiteY0" fmla="*/ 0 h 257442"/>
                <a:gd name="connsiteX1" fmla="*/ 2927084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0 w 3150122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968434 w 3263715"/>
                <a:gd name="connsiteY0" fmla="*/ 0 h 257442"/>
                <a:gd name="connsiteX1" fmla="*/ 3263715 w 3263715"/>
                <a:gd name="connsiteY1" fmla="*/ 257442 h 257442"/>
                <a:gd name="connsiteX2" fmla="*/ 0 w 3263715"/>
                <a:gd name="connsiteY2" fmla="*/ 257442 h 257442"/>
                <a:gd name="connsiteX3" fmla="*/ 0 w 3263715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297051 w 1297051"/>
                <a:gd name="connsiteY0" fmla="*/ 0 h 257442"/>
                <a:gd name="connsiteX1" fmla="*/ 1074013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1 w 1297051"/>
                <a:gd name="connsiteY2" fmla="*/ 257442 h 257442"/>
                <a:gd name="connsiteX3" fmla="*/ 0 w 1297051"/>
                <a:gd name="connsiteY3" fmla="*/ 0 h 257442"/>
                <a:gd name="connsiteX0" fmla="*/ 1566355 w 1566355"/>
                <a:gd name="connsiteY0" fmla="*/ 0 h 257442"/>
                <a:gd name="connsiteX1" fmla="*/ 1242330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5 w 1566355"/>
                <a:gd name="connsiteY0" fmla="*/ 0 h 257442"/>
                <a:gd name="connsiteX1" fmla="*/ 1511634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5 w 1566355"/>
                <a:gd name="connsiteY0" fmla="*/ 0 h 257442"/>
                <a:gd name="connsiteX1" fmla="*/ 1511634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821936 w 1821936"/>
                <a:gd name="connsiteY0" fmla="*/ 0 h 257442"/>
                <a:gd name="connsiteX1" fmla="*/ 1511633 w 1821936"/>
                <a:gd name="connsiteY1" fmla="*/ 257442 h 257442"/>
                <a:gd name="connsiteX2" fmla="*/ 0 w 1821936"/>
                <a:gd name="connsiteY2" fmla="*/ 257442 h 257442"/>
                <a:gd name="connsiteX3" fmla="*/ 0 w 1821936"/>
                <a:gd name="connsiteY3" fmla="*/ 0 h 257442"/>
                <a:gd name="connsiteX0" fmla="*/ 1821936 w 1821936"/>
                <a:gd name="connsiteY0" fmla="*/ 0 h 257442"/>
                <a:gd name="connsiteX1" fmla="*/ 1767215 w 1821936"/>
                <a:gd name="connsiteY1" fmla="*/ 257442 h 257442"/>
                <a:gd name="connsiteX2" fmla="*/ 0 w 1821936"/>
                <a:gd name="connsiteY2" fmla="*/ 257442 h 257442"/>
                <a:gd name="connsiteX3" fmla="*/ 0 w 1821936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1 w 1821937"/>
                <a:gd name="connsiteY3" fmla="*/ 0 h 257442"/>
                <a:gd name="connsiteX0" fmla="*/ 1982238 w 1982238"/>
                <a:gd name="connsiteY0" fmla="*/ 0 h 257442"/>
                <a:gd name="connsiteX1" fmla="*/ 17672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0 w 1982238"/>
                <a:gd name="connsiteY3" fmla="*/ 0 h 257442"/>
                <a:gd name="connsiteX0" fmla="*/ 2142538 w 2142538"/>
                <a:gd name="connsiteY0" fmla="*/ 0 h 257442"/>
                <a:gd name="connsiteX1" fmla="*/ 1927516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310852 w 2310852"/>
                <a:gd name="connsiteY0" fmla="*/ 0 h 257442"/>
                <a:gd name="connsiteX1" fmla="*/ 2087817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631453 w 2631453"/>
                <a:gd name="connsiteY0" fmla="*/ 0 h 257442"/>
                <a:gd name="connsiteX1" fmla="*/ 2256131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910376 w 2910376"/>
                <a:gd name="connsiteY0" fmla="*/ 0 h 257442"/>
                <a:gd name="connsiteX1" fmla="*/ 2576732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4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3078692 w 3078692"/>
                <a:gd name="connsiteY0" fmla="*/ 0 h 257442"/>
                <a:gd name="connsiteX1" fmla="*/ 2855655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0 w 3078692"/>
                <a:gd name="connsiteY3" fmla="*/ 0 h 257442"/>
                <a:gd name="connsiteX0" fmla="*/ 2910376 w 3023970"/>
                <a:gd name="connsiteY0" fmla="*/ 0 h 257442"/>
                <a:gd name="connsiteX1" fmla="*/ 3023970 w 3023970"/>
                <a:gd name="connsiteY1" fmla="*/ 257442 h 257442"/>
                <a:gd name="connsiteX2" fmla="*/ 0 w 3023970"/>
                <a:gd name="connsiteY2" fmla="*/ 257442 h 257442"/>
                <a:gd name="connsiteX3" fmla="*/ 0 w 3023970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732443 w 2855655"/>
                <a:gd name="connsiteY0" fmla="*/ 0 h 257442"/>
                <a:gd name="connsiteX1" fmla="*/ 2855655 w 2855655"/>
                <a:gd name="connsiteY1" fmla="*/ 257442 h 257442"/>
                <a:gd name="connsiteX2" fmla="*/ 0 w 2855655"/>
                <a:gd name="connsiteY2" fmla="*/ 257442 h 257442"/>
                <a:gd name="connsiteX3" fmla="*/ 0 w 2855655"/>
                <a:gd name="connsiteY3" fmla="*/ 0 h 257442"/>
                <a:gd name="connsiteX0" fmla="*/ 2732443 w 2732443"/>
                <a:gd name="connsiteY0" fmla="*/ 0 h 257442"/>
                <a:gd name="connsiteX1" fmla="*/ 2677723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3 w 2732443"/>
                <a:gd name="connsiteY1" fmla="*/ 257442 h 257442"/>
                <a:gd name="connsiteX2" fmla="*/ 1 w 2732443"/>
                <a:gd name="connsiteY2" fmla="*/ 257442 h 257442"/>
                <a:gd name="connsiteX3" fmla="*/ 0 w 2732443"/>
                <a:gd name="connsiteY3" fmla="*/ 0 h 257442"/>
                <a:gd name="connsiteX0" fmla="*/ 2732442 w 2732442"/>
                <a:gd name="connsiteY0" fmla="*/ 0 h 257442"/>
                <a:gd name="connsiteX1" fmla="*/ 2677722 w 2732442"/>
                <a:gd name="connsiteY1" fmla="*/ 257442 h 257442"/>
                <a:gd name="connsiteX2" fmla="*/ 0 w 2732442"/>
                <a:gd name="connsiteY2" fmla="*/ 257442 h 257442"/>
                <a:gd name="connsiteX3" fmla="*/ 0 w 2732442"/>
                <a:gd name="connsiteY3" fmla="*/ 0 h 257442"/>
                <a:gd name="connsiteX0" fmla="*/ 2463137 w 2677722"/>
                <a:gd name="connsiteY0" fmla="*/ 0 h 257442"/>
                <a:gd name="connsiteX1" fmla="*/ 2677722 w 2677722"/>
                <a:gd name="connsiteY1" fmla="*/ 257442 h 257442"/>
                <a:gd name="connsiteX2" fmla="*/ 0 w 2677722"/>
                <a:gd name="connsiteY2" fmla="*/ 257442 h 257442"/>
                <a:gd name="connsiteX3" fmla="*/ 0 w 2677722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310852 w 2408416"/>
                <a:gd name="connsiteY0" fmla="*/ 0 h 257442"/>
                <a:gd name="connsiteX1" fmla="*/ 2408416 w 2408416"/>
                <a:gd name="connsiteY1" fmla="*/ 257442 h 257442"/>
                <a:gd name="connsiteX2" fmla="*/ 0 w 2408416"/>
                <a:gd name="connsiteY2" fmla="*/ 257442 h 257442"/>
                <a:gd name="connsiteX3" fmla="*/ 0 w 2408416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471153 w 2471153"/>
                <a:gd name="connsiteY0" fmla="*/ 0 h 257442"/>
                <a:gd name="connsiteX1" fmla="*/ 2256131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310852 w 2416432"/>
                <a:gd name="connsiteY0" fmla="*/ 0 h 257442"/>
                <a:gd name="connsiteX1" fmla="*/ 2416432 w 2416432"/>
                <a:gd name="connsiteY1" fmla="*/ 257442 h 257442"/>
                <a:gd name="connsiteX2" fmla="*/ 0 w 2416432"/>
                <a:gd name="connsiteY2" fmla="*/ 257442 h 257442"/>
                <a:gd name="connsiteX3" fmla="*/ 0 w 241643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479168 w 2479168"/>
                <a:gd name="connsiteY0" fmla="*/ 0 h 257442"/>
                <a:gd name="connsiteX1" fmla="*/ 2256131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732443 w 2732443"/>
                <a:gd name="connsiteY0" fmla="*/ 0 h 257442"/>
                <a:gd name="connsiteX1" fmla="*/ 2424447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910376 w 2910376"/>
                <a:gd name="connsiteY0" fmla="*/ 0 h 257442"/>
                <a:gd name="connsiteX1" fmla="*/ 2677722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4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3078692 w 3078692"/>
                <a:gd name="connsiteY0" fmla="*/ 0 h 257442"/>
                <a:gd name="connsiteX1" fmla="*/ 2855655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0 w 3078692"/>
                <a:gd name="connsiteY3" fmla="*/ 0 h 257442"/>
                <a:gd name="connsiteX0" fmla="*/ 3238992 w 3238992"/>
                <a:gd name="connsiteY0" fmla="*/ 0 h 257442"/>
                <a:gd name="connsiteX1" fmla="*/ 3023970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543562 w 3543562"/>
                <a:gd name="connsiteY0" fmla="*/ 0 h 257442"/>
                <a:gd name="connsiteX1" fmla="*/ 318427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703863 w 3703863"/>
                <a:gd name="connsiteY0" fmla="*/ 0 h 257442"/>
                <a:gd name="connsiteX1" fmla="*/ 3488841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872177 w 3872177"/>
                <a:gd name="connsiteY0" fmla="*/ 0 h 257442"/>
                <a:gd name="connsiteX1" fmla="*/ 3649142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4125452 w 4125452"/>
                <a:gd name="connsiteY0" fmla="*/ 0 h 257442"/>
                <a:gd name="connsiteX1" fmla="*/ 3817456 w 4125452"/>
                <a:gd name="connsiteY1" fmla="*/ 257442 h 257442"/>
                <a:gd name="connsiteX2" fmla="*/ 0 w 4125452"/>
                <a:gd name="connsiteY2" fmla="*/ 257442 h 257442"/>
                <a:gd name="connsiteX3" fmla="*/ 0 w 4125452"/>
                <a:gd name="connsiteY3" fmla="*/ 0 h 257442"/>
                <a:gd name="connsiteX0" fmla="*/ 4125452 w 4125452"/>
                <a:gd name="connsiteY0" fmla="*/ 0 h 257442"/>
                <a:gd name="connsiteX1" fmla="*/ 4070730 w 4125452"/>
                <a:gd name="connsiteY1" fmla="*/ 257442 h 257442"/>
                <a:gd name="connsiteX2" fmla="*/ 0 w 4125452"/>
                <a:gd name="connsiteY2" fmla="*/ 257442 h 257442"/>
                <a:gd name="connsiteX3" fmla="*/ 0 w 4125452"/>
                <a:gd name="connsiteY3" fmla="*/ 0 h 257442"/>
                <a:gd name="connsiteX0" fmla="*/ 4125453 w 4125453"/>
                <a:gd name="connsiteY0" fmla="*/ 0 h 257442"/>
                <a:gd name="connsiteX1" fmla="*/ 4070731 w 4125453"/>
                <a:gd name="connsiteY1" fmla="*/ 257442 h 257442"/>
                <a:gd name="connsiteX2" fmla="*/ 0 w 4125453"/>
                <a:gd name="connsiteY2" fmla="*/ 257442 h 257442"/>
                <a:gd name="connsiteX3" fmla="*/ 1 w 4125453"/>
                <a:gd name="connsiteY3" fmla="*/ 0 h 257442"/>
                <a:gd name="connsiteX0" fmla="*/ 4125453 w 4125453"/>
                <a:gd name="connsiteY0" fmla="*/ 0 h 257442"/>
                <a:gd name="connsiteX1" fmla="*/ 4070731 w 4125453"/>
                <a:gd name="connsiteY1" fmla="*/ 257442 h 257442"/>
                <a:gd name="connsiteX2" fmla="*/ 0 w 4125453"/>
                <a:gd name="connsiteY2" fmla="*/ 257442 h 257442"/>
                <a:gd name="connsiteX3" fmla="*/ 1 w 4125453"/>
                <a:gd name="connsiteY3" fmla="*/ 0 h 257442"/>
                <a:gd name="connsiteX0" fmla="*/ 4285753 w 4285753"/>
                <a:gd name="connsiteY0" fmla="*/ 0 h 257442"/>
                <a:gd name="connsiteX1" fmla="*/ 4070731 w 4285753"/>
                <a:gd name="connsiteY1" fmla="*/ 257442 h 257442"/>
                <a:gd name="connsiteX2" fmla="*/ 0 w 4285753"/>
                <a:gd name="connsiteY2" fmla="*/ 257442 h 257442"/>
                <a:gd name="connsiteX3" fmla="*/ 1 w 4285753"/>
                <a:gd name="connsiteY3" fmla="*/ 0 h 257442"/>
                <a:gd name="connsiteX0" fmla="*/ 4285753 w 4285753"/>
                <a:gd name="connsiteY0" fmla="*/ 0 h 257442"/>
                <a:gd name="connsiteX1" fmla="*/ 4231032 w 4285753"/>
                <a:gd name="connsiteY1" fmla="*/ 257442 h 257442"/>
                <a:gd name="connsiteX2" fmla="*/ 0 w 4285753"/>
                <a:gd name="connsiteY2" fmla="*/ 257442 h 257442"/>
                <a:gd name="connsiteX3" fmla="*/ 1 w 4285753"/>
                <a:gd name="connsiteY3" fmla="*/ 0 h 257442"/>
                <a:gd name="connsiteX0" fmla="*/ 4285752 w 4285752"/>
                <a:gd name="connsiteY0" fmla="*/ 0 h 257442"/>
                <a:gd name="connsiteX1" fmla="*/ 4231031 w 4285752"/>
                <a:gd name="connsiteY1" fmla="*/ 257442 h 257442"/>
                <a:gd name="connsiteX2" fmla="*/ 0 w 4285752"/>
                <a:gd name="connsiteY2" fmla="*/ 257442 h 257442"/>
                <a:gd name="connsiteX3" fmla="*/ 0 w 4285752"/>
                <a:gd name="connsiteY3" fmla="*/ 0 h 257442"/>
                <a:gd name="connsiteX0" fmla="*/ 4285753 w 4285753"/>
                <a:gd name="connsiteY0" fmla="*/ 0 h 257442"/>
                <a:gd name="connsiteX1" fmla="*/ 4231032 w 4285753"/>
                <a:gd name="connsiteY1" fmla="*/ 257442 h 257442"/>
                <a:gd name="connsiteX2" fmla="*/ 1 w 4285753"/>
                <a:gd name="connsiteY2" fmla="*/ 257442 h 257442"/>
                <a:gd name="connsiteX3" fmla="*/ 0 w 4285753"/>
                <a:gd name="connsiteY3" fmla="*/ 0 h 257442"/>
                <a:gd name="connsiteX0" fmla="*/ 4446053 w 4446053"/>
                <a:gd name="connsiteY0" fmla="*/ 0 h 257442"/>
                <a:gd name="connsiteX1" fmla="*/ 42310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3 w 4446053"/>
                <a:gd name="connsiteY0" fmla="*/ 0 h 257442"/>
                <a:gd name="connsiteX1" fmla="*/ 43913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3 w 4446053"/>
                <a:gd name="connsiteY0" fmla="*/ 0 h 257442"/>
                <a:gd name="connsiteX1" fmla="*/ 43913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2 w 4446052"/>
                <a:gd name="connsiteY0" fmla="*/ 0 h 257442"/>
                <a:gd name="connsiteX1" fmla="*/ 4391331 w 4446052"/>
                <a:gd name="connsiteY1" fmla="*/ 257442 h 257442"/>
                <a:gd name="connsiteX2" fmla="*/ 0 w 4446052"/>
                <a:gd name="connsiteY2" fmla="*/ 257442 h 257442"/>
                <a:gd name="connsiteX3" fmla="*/ 0 w 4446052"/>
                <a:gd name="connsiteY3" fmla="*/ 0 h 257442"/>
                <a:gd name="connsiteX0" fmla="*/ 782549 w 4391331"/>
                <a:gd name="connsiteY0" fmla="*/ 0 h 257442"/>
                <a:gd name="connsiteX1" fmla="*/ 4391331 w 4391331"/>
                <a:gd name="connsiteY1" fmla="*/ 257442 h 257442"/>
                <a:gd name="connsiteX2" fmla="*/ 0 w 4391331"/>
                <a:gd name="connsiteY2" fmla="*/ 257442 h 257442"/>
                <a:gd name="connsiteX3" fmla="*/ 0 w 4391331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968434 w 968434"/>
                <a:gd name="connsiteY0" fmla="*/ 0 h 257442"/>
                <a:gd name="connsiteX1" fmla="*/ 727829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0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0 w 2233204"/>
                <a:gd name="connsiteY3" fmla="*/ 0 h 257442"/>
                <a:gd name="connsiteX0" fmla="*/ 2520141 w 2520141"/>
                <a:gd name="connsiteY0" fmla="*/ 0 h 257442"/>
                <a:gd name="connsiteX1" fmla="*/ 2178482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781430 w 2781430"/>
                <a:gd name="connsiteY0" fmla="*/ 0 h 257442"/>
                <a:gd name="connsiteX1" fmla="*/ 2465420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0 w 2781430"/>
                <a:gd name="connsiteY0" fmla="*/ 0 h 257442"/>
                <a:gd name="connsiteX1" fmla="*/ 2726708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1431" h="257442">
                  <a:moveTo>
                    <a:pt x="2781431" y="0"/>
                  </a:moveTo>
                  <a:lnTo>
                    <a:pt x="2726709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5" name="btfpRunningAgenda1LevelTextLeft392144">
              <a:extLst>
                <a:ext uri="{FF2B5EF4-FFF2-40B4-BE49-F238E27FC236}">
                  <a16:creationId xmlns:a16="http://schemas.microsoft.com/office/drawing/2014/main" id="{58EE3662-9C74-8617-5B32-BB2E217B8BE2}"/>
                </a:ext>
              </a:extLst>
            </p:cNvPr>
            <p:cNvSpPr txBox="1"/>
            <p:nvPr/>
          </p:nvSpPr>
          <p:spPr bwMode="gray">
            <a:xfrm>
              <a:off x="0" y="876300"/>
              <a:ext cx="272670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marketing-mix</a:t>
              </a:r>
            </a:p>
          </p:txBody>
        </p:sp>
      </p:grpSp>
      <p:pic>
        <p:nvPicPr>
          <p:cNvPr id="10" name="Picture 4" descr="Sanpellegrino Logo PNG Transparent &amp; SVG Vector - Freebie Supply">
            <a:extLst>
              <a:ext uri="{FF2B5EF4-FFF2-40B4-BE49-F238E27FC236}">
                <a16:creationId xmlns:a16="http://schemas.microsoft.com/office/drawing/2014/main" id="{B784E751-2254-F60B-1647-541F389D56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0" y="5140398"/>
            <a:ext cx="961240" cy="961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 descr="La Croix Sparkling Water - Wikipedia">
            <a:extLst>
              <a:ext uri="{FF2B5EF4-FFF2-40B4-BE49-F238E27FC236}">
                <a16:creationId xmlns:a16="http://schemas.microsoft.com/office/drawing/2014/main" id="{F6FC1D8D-0A7A-9B18-A399-2C7030026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7176" y="5541418"/>
            <a:ext cx="630241" cy="31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id="{AB2C0AF0-835D-62C4-9F08-1D87CA84CB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970" y="5500664"/>
            <a:ext cx="676347" cy="402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">
            <a:extLst>
              <a:ext uri="{FF2B5EF4-FFF2-40B4-BE49-F238E27FC236}">
                <a16:creationId xmlns:a16="http://schemas.microsoft.com/office/drawing/2014/main" id="{F4C1CE00-EF28-2EAA-771A-C4365CAD19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6613" y="5525923"/>
            <a:ext cx="745850" cy="33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0" descr="topo chico logo">
            <a:extLst>
              <a:ext uri="{FF2B5EF4-FFF2-40B4-BE49-F238E27FC236}">
                <a16:creationId xmlns:a16="http://schemas.microsoft.com/office/drawing/2014/main" id="{F539CB72-6263-06E7-33A1-4ECAEB073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5155" y="5574350"/>
            <a:ext cx="951068" cy="23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6" descr="Spindrift Beverage Co. | Nombase CPG Company Database">
            <a:extLst>
              <a:ext uri="{FF2B5EF4-FFF2-40B4-BE49-F238E27FC236}">
                <a16:creationId xmlns:a16="http://schemas.microsoft.com/office/drawing/2014/main" id="{F414FB82-8E63-B534-FE41-39ADEED1ED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403" y="5569117"/>
            <a:ext cx="902631" cy="244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AA06448D-6A87-F4D5-8519-C745EAA07A62}"/>
              </a:ext>
            </a:extLst>
          </p:cNvPr>
          <p:cNvGrpSpPr/>
          <p:nvPr/>
        </p:nvGrpSpPr>
        <p:grpSpPr>
          <a:xfrm>
            <a:off x="5911991" y="5512831"/>
            <a:ext cx="638504" cy="446272"/>
            <a:chOff x="7109584" y="807578"/>
            <a:chExt cx="580458" cy="40570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23C2544-AD07-5909-731F-D0518B704FCD}"/>
                </a:ext>
              </a:extLst>
            </p:cNvPr>
            <p:cNvSpPr/>
            <p:nvPr/>
          </p:nvSpPr>
          <p:spPr bwMode="gray">
            <a:xfrm>
              <a:off x="7109584" y="1087573"/>
              <a:ext cx="580458" cy="12570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b="1">
                  <a:solidFill>
                    <a:schemeClr val="tx1"/>
                  </a:solidFill>
                </a:rPr>
                <a:t>Polar</a:t>
              </a:r>
              <a:endParaRPr lang="en-US" sz="800" b="1">
                <a:solidFill>
                  <a:schemeClr val="tx1"/>
                </a:solidFill>
              </a:endParaRPr>
            </a:p>
          </p:txBody>
        </p:sp>
        <p:pic>
          <p:nvPicPr>
            <p:cNvPr id="48" name="Picture 12" descr="Polar Beverages">
              <a:extLst>
                <a:ext uri="{FF2B5EF4-FFF2-40B4-BE49-F238E27FC236}">
                  <a16:creationId xmlns:a16="http://schemas.microsoft.com/office/drawing/2014/main" id="{1936192B-6A71-F6C2-A60C-DBF95E14E6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3671" y="807578"/>
              <a:ext cx="323665" cy="323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B1A2AC17-D84D-5B5B-83CE-B397011404D1}"/>
              </a:ext>
            </a:extLst>
          </p:cNvPr>
          <p:cNvCxnSpPr>
            <a:cxnSpLocks/>
          </p:cNvCxnSpPr>
          <p:nvPr/>
        </p:nvCxnSpPr>
        <p:spPr bwMode="gray">
          <a:xfrm>
            <a:off x="10925506" y="2282089"/>
            <a:ext cx="0" cy="4242798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3" name="btfpNotesBox222394">
            <a:extLst>
              <a:ext uri="{FF2B5EF4-FFF2-40B4-BE49-F238E27FC236}">
                <a16:creationId xmlns:a16="http://schemas.microsoft.com/office/drawing/2014/main" id="{A3808735-9BAB-6EDB-A35E-FD6F0108E189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0200" y="6446736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TM is May’24-Apr’25; LLTM is May’23-Apr’24 | Source: </a:t>
            </a:r>
            <a:r>
              <a:rPr lang="en-US" sz="800" err="1">
                <a:solidFill>
                  <a:srgbClr val="000000"/>
                </a:solidFill>
              </a:rPr>
              <a:t>Vivvix</a:t>
            </a:r>
            <a:r>
              <a:rPr lang="en-US" sz="800">
                <a:solidFill>
                  <a:srgbClr val="000000"/>
                </a:solidFill>
              </a:rPr>
              <a:t> (Kantar), </a:t>
            </a:r>
            <a:r>
              <a:rPr lang="en-US" sz="800" err="1">
                <a:solidFill>
                  <a:srgbClr val="000000"/>
                </a:solidFill>
              </a:rPr>
              <a:t>Pathmatics</a:t>
            </a:r>
            <a:r>
              <a:rPr lang="en-US" sz="800">
                <a:solidFill>
                  <a:srgbClr val="000000"/>
                </a:solidFill>
              </a:rPr>
              <a:t>, SEMrush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5CECC50-4240-A1A7-5013-EC7C44ED6FC0}"/>
              </a:ext>
            </a:extLst>
          </p:cNvPr>
          <p:cNvSpPr/>
          <p:nvPr/>
        </p:nvSpPr>
        <p:spPr bwMode="gray">
          <a:xfrm>
            <a:off x="804015" y="2236644"/>
            <a:ext cx="1915529" cy="3786154"/>
          </a:xfrm>
          <a:prstGeom prst="rect">
            <a:avLst/>
          </a:prstGeom>
          <a:noFill/>
          <a:ln w="1905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69" name="btfpStatusSticker154879">
            <a:extLst>
              <a:ext uri="{FF2B5EF4-FFF2-40B4-BE49-F238E27FC236}">
                <a16:creationId xmlns:a16="http://schemas.microsoft.com/office/drawing/2014/main" id="{D68CE437-4295-4F7B-4DE8-C5801736A79C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7555320" y="955344"/>
            <a:ext cx="2420344" cy="235611"/>
            <a:chOff x="-2939076" y="876300"/>
            <a:chExt cx="2420344" cy="235611"/>
          </a:xfrm>
        </p:grpSpPr>
        <p:sp>
          <p:nvSpPr>
            <p:cNvPr id="70" name="btfpStatusStickerText154879">
              <a:extLst>
                <a:ext uri="{FF2B5EF4-FFF2-40B4-BE49-F238E27FC236}">
                  <a16:creationId xmlns:a16="http://schemas.microsoft.com/office/drawing/2014/main" id="{F193F6C2-C016-B2F1-8360-2A462A140D9A}"/>
                </a:ext>
              </a:extLst>
            </p:cNvPr>
            <p:cNvSpPr txBox="1"/>
            <p:nvPr/>
          </p:nvSpPr>
          <p:spPr bwMode="gray">
            <a:xfrm>
              <a:off x="-2939076" y="876300"/>
              <a:ext cx="24203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parkling water</a:t>
              </a:r>
            </a:p>
          </p:txBody>
        </p:sp>
        <p:cxnSp>
          <p:nvCxnSpPr>
            <p:cNvPr id="71" name="btfpStatusStickerLine154879">
              <a:extLst>
                <a:ext uri="{FF2B5EF4-FFF2-40B4-BE49-F238E27FC236}">
                  <a16:creationId xmlns:a16="http://schemas.microsoft.com/office/drawing/2014/main" id="{A913F3C6-E600-EEA9-FB3C-ADD5D1C11AFB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9390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2" name="Picture 4" descr="Sanpellegrino Logo PNG Transparent &amp; SVG Vector - Freebie Supply">
            <a:extLst>
              <a:ext uri="{FF2B5EF4-FFF2-40B4-BE49-F238E27FC236}">
                <a16:creationId xmlns:a16="http://schemas.microsoft.com/office/drawing/2014/main" id="{E957E49B-7F62-4C23-E69A-123CF6CDD3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07" b="35007"/>
          <a:stretch/>
        </p:blipFill>
        <p:spPr bwMode="auto">
          <a:xfrm>
            <a:off x="9076616" y="5942763"/>
            <a:ext cx="1548086" cy="464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">
            <a:extLst>
              <a:ext uri="{FF2B5EF4-FFF2-40B4-BE49-F238E27FC236}">
                <a16:creationId xmlns:a16="http://schemas.microsoft.com/office/drawing/2014/main" id="{E81CC8FB-99A5-C1D4-7D53-454D999B22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5616" y="6069858"/>
            <a:ext cx="743982" cy="443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6033DE9C-F6A3-DA7E-4CD8-30040FBCE7B3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" y="944428"/>
            <a:ext cx="258172" cy="2574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0641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B853931-AB6B-FB66-74D4-0F1DA95A22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853931-AB6B-FB66-74D4-0F1DA95A2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35D25F11-158A-C7F2-78FD-8437B7CD241E}"/>
              </a:ext>
            </a:extLst>
          </p:cNvPr>
          <p:cNvSpPr/>
          <p:nvPr/>
        </p:nvSpPr>
        <p:spPr bwMode="gray">
          <a:xfrm>
            <a:off x="9238129" y="5392215"/>
            <a:ext cx="400595" cy="230137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F2767D7-BAD3-0AA3-CF30-E866D6033281}"/>
              </a:ext>
            </a:extLst>
          </p:cNvPr>
          <p:cNvSpPr/>
          <p:nvPr/>
        </p:nvSpPr>
        <p:spPr bwMode="gray">
          <a:xfrm>
            <a:off x="4521015" y="5393148"/>
            <a:ext cx="400595" cy="230137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D69803F-93C9-D56C-B8D8-4A69DE8FD2C3}"/>
              </a:ext>
            </a:extLst>
          </p:cNvPr>
          <p:cNvSpPr/>
          <p:nvPr/>
        </p:nvSpPr>
        <p:spPr bwMode="gray">
          <a:xfrm>
            <a:off x="2906534" y="5392215"/>
            <a:ext cx="484721" cy="230137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92BDEEF-3F3F-FE13-95E3-81F61010D339}"/>
              </a:ext>
            </a:extLst>
          </p:cNvPr>
          <p:cNvSpPr/>
          <p:nvPr/>
        </p:nvSpPr>
        <p:spPr bwMode="gray">
          <a:xfrm>
            <a:off x="6080233" y="5387882"/>
            <a:ext cx="400595" cy="230137"/>
          </a:xfrm>
          <a:prstGeom prst="rect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F3AA59E-1835-F555-3C14-4C7B2C6A20B8}"/>
              </a:ext>
            </a:extLst>
          </p:cNvPr>
          <p:cNvSpPr/>
          <p:nvPr/>
        </p:nvSpPr>
        <p:spPr bwMode="gray">
          <a:xfrm>
            <a:off x="7652288" y="5384333"/>
            <a:ext cx="400595" cy="230137"/>
          </a:xfrm>
          <a:prstGeom prst="rect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0A19B1D-C4EE-7BF1-841D-50AD692B31CE}"/>
              </a:ext>
            </a:extLst>
          </p:cNvPr>
          <p:cNvSpPr/>
          <p:nvPr/>
        </p:nvSpPr>
        <p:spPr bwMode="gray">
          <a:xfrm>
            <a:off x="10787888" y="5385320"/>
            <a:ext cx="400595" cy="230137"/>
          </a:xfrm>
          <a:prstGeom prst="rect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C69C8A0-9522-1E8A-FC27-F7B64E3DD702}"/>
              </a:ext>
            </a:extLst>
          </p:cNvPr>
          <p:cNvSpPr/>
          <p:nvPr/>
        </p:nvSpPr>
        <p:spPr bwMode="gray">
          <a:xfrm>
            <a:off x="1370022" y="5392215"/>
            <a:ext cx="400595" cy="230137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72" name="btfpColumnIndicatorGroup2">
            <a:extLst>
              <a:ext uri="{FF2B5EF4-FFF2-40B4-BE49-F238E27FC236}">
                <a16:creationId xmlns:a16="http://schemas.microsoft.com/office/drawing/2014/main" id="{DC1E885E-663B-A904-0D4B-C89D30AF7DF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9" name="btfpColumnGapBlocker633368">
              <a:extLst>
                <a:ext uri="{FF2B5EF4-FFF2-40B4-BE49-F238E27FC236}">
                  <a16:creationId xmlns:a16="http://schemas.microsoft.com/office/drawing/2014/main" id="{948EF19C-A619-0365-43D4-CDDDB3F0BB2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897670">
              <a:extLst>
                <a:ext uri="{FF2B5EF4-FFF2-40B4-BE49-F238E27FC236}">
                  <a16:creationId xmlns:a16="http://schemas.microsoft.com/office/drawing/2014/main" id="{D8158C43-C381-0C1A-E60F-8271D523ADCE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2" name="btfpColumnIndicator993516">
              <a:extLst>
                <a:ext uri="{FF2B5EF4-FFF2-40B4-BE49-F238E27FC236}">
                  <a16:creationId xmlns:a16="http://schemas.microsoft.com/office/drawing/2014/main" id="{F7C719E4-D274-4130-C4F6-F3DBD11F440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390809">
              <a:extLst>
                <a:ext uri="{FF2B5EF4-FFF2-40B4-BE49-F238E27FC236}">
                  <a16:creationId xmlns:a16="http://schemas.microsoft.com/office/drawing/2014/main" id="{F79EF25F-B4CE-B8A6-8C4A-21AA35D66014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324400">
              <a:extLst>
                <a:ext uri="{FF2B5EF4-FFF2-40B4-BE49-F238E27FC236}">
                  <a16:creationId xmlns:a16="http://schemas.microsoft.com/office/drawing/2014/main" id="{F3E2872C-B510-CC3D-80AA-4D344203D41F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618150">
              <a:extLst>
                <a:ext uri="{FF2B5EF4-FFF2-40B4-BE49-F238E27FC236}">
                  <a16:creationId xmlns:a16="http://schemas.microsoft.com/office/drawing/2014/main" id="{5EC2EB82-4CDD-5BD7-1AE6-08E42DF5B3CC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btfpColumnIndicator937016">
              <a:extLst>
                <a:ext uri="{FF2B5EF4-FFF2-40B4-BE49-F238E27FC236}">
                  <a16:creationId xmlns:a16="http://schemas.microsoft.com/office/drawing/2014/main" id="{942BB546-998C-4B3B-5E88-D716C70ED563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tfpColumnGapBlocker906737">
              <a:extLst>
                <a:ext uri="{FF2B5EF4-FFF2-40B4-BE49-F238E27FC236}">
                  <a16:creationId xmlns:a16="http://schemas.microsoft.com/office/drawing/2014/main" id="{EF29E5D0-B3A1-8BA6-6CB0-588A522A125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9" name="btfpColumnIndicator268123">
              <a:extLst>
                <a:ext uri="{FF2B5EF4-FFF2-40B4-BE49-F238E27FC236}">
                  <a16:creationId xmlns:a16="http://schemas.microsoft.com/office/drawing/2014/main" id="{90D0321B-1E06-A198-D811-7583362A252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btfpColumnIndicator448187">
              <a:extLst>
                <a:ext uri="{FF2B5EF4-FFF2-40B4-BE49-F238E27FC236}">
                  <a16:creationId xmlns:a16="http://schemas.microsoft.com/office/drawing/2014/main" id="{601609C8-8C03-F0CB-AE4A-D45167EC3FA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ColumnIndicatorGroup1">
            <a:extLst>
              <a:ext uri="{FF2B5EF4-FFF2-40B4-BE49-F238E27FC236}">
                <a16:creationId xmlns:a16="http://schemas.microsoft.com/office/drawing/2014/main" id="{DEF1C017-13AF-B8C7-A943-C4CC41D1647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8" name="btfpColumnGapBlocker838725">
              <a:extLst>
                <a:ext uri="{FF2B5EF4-FFF2-40B4-BE49-F238E27FC236}">
                  <a16:creationId xmlns:a16="http://schemas.microsoft.com/office/drawing/2014/main" id="{9A534FA7-28E0-A745-D167-A32D8DC6741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657888">
              <a:extLst>
                <a:ext uri="{FF2B5EF4-FFF2-40B4-BE49-F238E27FC236}">
                  <a16:creationId xmlns:a16="http://schemas.microsoft.com/office/drawing/2014/main" id="{70AC0A4B-08C5-8672-F0B1-C5F057DB55CB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1" name="btfpColumnIndicator657855">
              <a:extLst>
                <a:ext uri="{FF2B5EF4-FFF2-40B4-BE49-F238E27FC236}">
                  <a16:creationId xmlns:a16="http://schemas.microsoft.com/office/drawing/2014/main" id="{D95E9C4D-F70A-0ED5-BA5D-BB81A17C9AC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btfpColumnIndicator337650">
              <a:extLst>
                <a:ext uri="{FF2B5EF4-FFF2-40B4-BE49-F238E27FC236}">
                  <a16:creationId xmlns:a16="http://schemas.microsoft.com/office/drawing/2014/main" id="{911220A2-640A-B98B-7147-CA24F8481816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btfpColumnGapBlocker741597">
              <a:extLst>
                <a:ext uri="{FF2B5EF4-FFF2-40B4-BE49-F238E27FC236}">
                  <a16:creationId xmlns:a16="http://schemas.microsoft.com/office/drawing/2014/main" id="{A041D799-E016-89E8-37AF-69F45D46137E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3" name="btfpColumnIndicator791858">
              <a:extLst>
                <a:ext uri="{FF2B5EF4-FFF2-40B4-BE49-F238E27FC236}">
                  <a16:creationId xmlns:a16="http://schemas.microsoft.com/office/drawing/2014/main" id="{75491831-ECC4-17CA-5579-2F9D23DB2445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530456">
              <a:extLst>
                <a:ext uri="{FF2B5EF4-FFF2-40B4-BE49-F238E27FC236}">
                  <a16:creationId xmlns:a16="http://schemas.microsoft.com/office/drawing/2014/main" id="{344771A1-B5B0-877B-2F2E-47F93092E27D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tfpColumnGapBlocker472271">
              <a:extLst>
                <a:ext uri="{FF2B5EF4-FFF2-40B4-BE49-F238E27FC236}">
                  <a16:creationId xmlns:a16="http://schemas.microsoft.com/office/drawing/2014/main" id="{C562392D-1A3D-6851-67D4-5AC95D411D1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btfpColumnIndicator240913">
              <a:extLst>
                <a:ext uri="{FF2B5EF4-FFF2-40B4-BE49-F238E27FC236}">
                  <a16:creationId xmlns:a16="http://schemas.microsoft.com/office/drawing/2014/main" id="{D8807AA1-8AD7-D019-511C-EFA32689FE0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595376">
              <a:extLst>
                <a:ext uri="{FF2B5EF4-FFF2-40B4-BE49-F238E27FC236}">
                  <a16:creationId xmlns:a16="http://schemas.microsoft.com/office/drawing/2014/main" id="{4F772D3B-1016-2C15-69C6-CB0AE0B199A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tabLst>
                <a:tab pos="6457950" algn="l"/>
              </a:tabLst>
            </a:pPr>
            <a:r>
              <a:rPr lang="en-US" b="1"/>
              <a:t>Marketing channel mix</a:t>
            </a:r>
            <a:r>
              <a:rPr lang="en-US"/>
              <a:t>: San Pellegrino and Perrier are outperforming peers with higher investments and a more diversified channel mix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03450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519010464735897 columns_2_132519236063076276 30_1_132519235021977123 34_1_132519246744957858 37_1_132519246745177277 10_1_132524658155331479 </a:t>
            </a:r>
          </a:p>
        </p:txBody>
      </p:sp>
      <p:grpSp>
        <p:nvGrpSpPr>
          <p:cNvPr id="82" name="btfpStatusSticker123117">
            <a:extLst>
              <a:ext uri="{FF2B5EF4-FFF2-40B4-BE49-F238E27FC236}">
                <a16:creationId xmlns:a16="http://schemas.microsoft.com/office/drawing/2014/main" id="{E675391D-4430-4FDE-1D56-2F5AEF96727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-2867774" y="876300"/>
            <a:chExt cx="1759136" cy="235611"/>
          </a:xfrm>
        </p:grpSpPr>
        <p:sp>
          <p:nvSpPr>
            <p:cNvPr id="83" name="btfpStatusStickerText123117">
              <a:extLst>
                <a:ext uri="{FF2B5EF4-FFF2-40B4-BE49-F238E27FC236}">
                  <a16:creationId xmlns:a16="http://schemas.microsoft.com/office/drawing/2014/main" id="{ADA8972E-F7D5-ABFB-5AF9-6A2E2B460A1D}"/>
                </a:ext>
              </a:extLst>
            </p:cNvPr>
            <p:cNvSpPr txBox="1"/>
            <p:nvPr/>
          </p:nvSpPr>
          <p:spPr bwMode="gray">
            <a:xfrm>
              <a:off x="-2867774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84" name="btfpStatusStickerLine123117">
              <a:extLst>
                <a:ext uri="{FF2B5EF4-FFF2-40B4-BE49-F238E27FC236}">
                  <a16:creationId xmlns:a16="http://schemas.microsoft.com/office/drawing/2014/main" id="{A48EA2D3-0A31-C50B-6C06-A4F089B4A56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867774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5" name="Picture 94">
            <a:extLst>
              <a:ext uri="{FF2B5EF4-FFF2-40B4-BE49-F238E27FC236}">
                <a16:creationId xmlns:a16="http://schemas.microsoft.com/office/drawing/2014/main" id="{48E2E343-7D67-ADF1-64D2-71E05D8F32F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4428"/>
            <a:ext cx="258172" cy="257443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3CE91A6B-7EC1-CE64-F7B6-062A70B9906C}"/>
              </a:ext>
            </a:extLst>
          </p:cNvPr>
          <p:cNvGrpSpPr/>
          <p:nvPr/>
        </p:nvGrpSpPr>
        <p:grpSpPr>
          <a:xfrm>
            <a:off x="4028092" y="1288990"/>
            <a:ext cx="2333298" cy="122216"/>
            <a:chOff x="2782396" y="1356723"/>
            <a:chExt cx="2812684" cy="116555"/>
          </a:xfrm>
        </p:grpSpPr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3D1F284B-951A-41D5-1288-D4DBFAA38529}"/>
                </a:ext>
              </a:extLst>
            </p:cNvPr>
            <p:cNvCxnSpPr/>
            <p:nvPr/>
          </p:nvCxnSpPr>
          <p:spPr bwMode="gray">
            <a:xfrm>
              <a:off x="2782396" y="1417834"/>
              <a:ext cx="2812684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9B08865-0508-BF3E-2C12-B605D197E367}"/>
                </a:ext>
              </a:extLst>
            </p:cNvPr>
            <p:cNvSpPr/>
            <p:nvPr/>
          </p:nvSpPr>
          <p:spPr bwMode="gray">
            <a:xfrm>
              <a:off x="3812267" y="1356723"/>
              <a:ext cx="832111" cy="11655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i="1">
                  <a:solidFill>
                    <a:schemeClr val="tx1"/>
                  </a:solidFill>
                </a:rPr>
                <a:t>Online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141522D-FAE1-996A-ADDA-38AA98FA1D66}"/>
              </a:ext>
            </a:extLst>
          </p:cNvPr>
          <p:cNvGrpSpPr/>
          <p:nvPr/>
        </p:nvGrpSpPr>
        <p:grpSpPr>
          <a:xfrm>
            <a:off x="6469126" y="1292210"/>
            <a:ext cx="1996959" cy="122216"/>
            <a:chOff x="5677362" y="1353829"/>
            <a:chExt cx="3715246" cy="116555"/>
          </a:xfrm>
        </p:grpSpPr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8F5996A5-0C66-7C28-7D9B-0973EA8E3D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677362" y="1416125"/>
              <a:ext cx="3715246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DF6F755-1122-7D9F-F494-6B5D664AD964}"/>
                </a:ext>
              </a:extLst>
            </p:cNvPr>
            <p:cNvSpPr/>
            <p:nvPr/>
          </p:nvSpPr>
          <p:spPr bwMode="gray">
            <a:xfrm>
              <a:off x="7003598" y="1353829"/>
              <a:ext cx="832111" cy="11655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i="1">
                  <a:solidFill>
                    <a:schemeClr val="tx1"/>
                  </a:solidFill>
                </a:rPr>
                <a:t>Offline</a:t>
              </a:r>
            </a:p>
          </p:txBody>
        </p:sp>
      </p:grpSp>
      <p:grpSp>
        <p:nvGrpSpPr>
          <p:cNvPr id="7" name="btfpRunningAgenda1Level392144">
            <a:extLst>
              <a:ext uri="{FF2B5EF4-FFF2-40B4-BE49-F238E27FC236}">
                <a16:creationId xmlns:a16="http://schemas.microsoft.com/office/drawing/2014/main" id="{D8E331D4-25A5-FBF4-AD62-F2006C08060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2781431" cy="257442"/>
            <a:chOff x="-1" y="876300"/>
            <a:chExt cx="2781431" cy="257442"/>
          </a:xfrm>
        </p:grpSpPr>
        <p:sp>
          <p:nvSpPr>
            <p:cNvPr id="9" name="btfpRunningAgenda1LevelBarLeft392144">
              <a:extLst>
                <a:ext uri="{FF2B5EF4-FFF2-40B4-BE49-F238E27FC236}">
                  <a16:creationId xmlns:a16="http://schemas.microsoft.com/office/drawing/2014/main" id="{92B723EB-7EAB-7A39-B8DF-931B1E08FB28}"/>
                </a:ext>
              </a:extLst>
            </p:cNvPr>
            <p:cNvSpPr/>
            <p:nvPr/>
          </p:nvSpPr>
          <p:spPr bwMode="gray">
            <a:xfrm>
              <a:off x="-1" y="876300"/>
              <a:ext cx="278143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247356 w 1247356"/>
                <a:gd name="connsiteY0" fmla="*/ 0 h 257442"/>
                <a:gd name="connsiteX1" fmla="*/ 888065 w 1247356"/>
                <a:gd name="connsiteY1" fmla="*/ 257442 h 257442"/>
                <a:gd name="connsiteX2" fmla="*/ 0 w 1247356"/>
                <a:gd name="connsiteY2" fmla="*/ 257442 h 257442"/>
                <a:gd name="connsiteX3" fmla="*/ 0 w 1247356"/>
                <a:gd name="connsiteY3" fmla="*/ 0 h 257442"/>
                <a:gd name="connsiteX0" fmla="*/ 1247356 w 1247356"/>
                <a:gd name="connsiteY0" fmla="*/ 0 h 257442"/>
                <a:gd name="connsiteX1" fmla="*/ 1192634 w 1247356"/>
                <a:gd name="connsiteY1" fmla="*/ 257442 h 257442"/>
                <a:gd name="connsiteX2" fmla="*/ 0 w 1247356"/>
                <a:gd name="connsiteY2" fmla="*/ 257442 h 257442"/>
                <a:gd name="connsiteX3" fmla="*/ 0 w 1247356"/>
                <a:gd name="connsiteY3" fmla="*/ 0 h 257442"/>
                <a:gd name="connsiteX0" fmla="*/ 1247357 w 1247357"/>
                <a:gd name="connsiteY0" fmla="*/ 0 h 257442"/>
                <a:gd name="connsiteX1" fmla="*/ 1192635 w 1247357"/>
                <a:gd name="connsiteY1" fmla="*/ 257442 h 257442"/>
                <a:gd name="connsiteX2" fmla="*/ 0 w 1247357"/>
                <a:gd name="connsiteY2" fmla="*/ 257442 h 257442"/>
                <a:gd name="connsiteX3" fmla="*/ 1 w 1247357"/>
                <a:gd name="connsiteY3" fmla="*/ 0 h 257442"/>
                <a:gd name="connsiteX0" fmla="*/ 1247357 w 1247357"/>
                <a:gd name="connsiteY0" fmla="*/ 0 h 257442"/>
                <a:gd name="connsiteX1" fmla="*/ 1192635 w 1247357"/>
                <a:gd name="connsiteY1" fmla="*/ 257442 h 257442"/>
                <a:gd name="connsiteX2" fmla="*/ 0 w 1247357"/>
                <a:gd name="connsiteY2" fmla="*/ 257442 h 257442"/>
                <a:gd name="connsiteX3" fmla="*/ 1 w 1247357"/>
                <a:gd name="connsiteY3" fmla="*/ 0 h 257442"/>
                <a:gd name="connsiteX0" fmla="*/ 1407657 w 1407657"/>
                <a:gd name="connsiteY0" fmla="*/ 0 h 257442"/>
                <a:gd name="connsiteX1" fmla="*/ 1192635 w 1407657"/>
                <a:gd name="connsiteY1" fmla="*/ 257442 h 257442"/>
                <a:gd name="connsiteX2" fmla="*/ 0 w 1407657"/>
                <a:gd name="connsiteY2" fmla="*/ 257442 h 257442"/>
                <a:gd name="connsiteX3" fmla="*/ 1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0 w 1407657"/>
                <a:gd name="connsiteY2" fmla="*/ 257442 h 257442"/>
                <a:gd name="connsiteX3" fmla="*/ 1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575973 w 1575973"/>
                <a:gd name="connsiteY0" fmla="*/ 0 h 257442"/>
                <a:gd name="connsiteX1" fmla="*/ 1352936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3 w 1575973"/>
                <a:gd name="connsiteY0" fmla="*/ 0 h 257442"/>
                <a:gd name="connsiteX1" fmla="*/ 1521252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3 w 1575973"/>
                <a:gd name="connsiteY0" fmla="*/ 0 h 257442"/>
                <a:gd name="connsiteX1" fmla="*/ 1521252 w 1575973"/>
                <a:gd name="connsiteY1" fmla="*/ 257442 h 257442"/>
                <a:gd name="connsiteX2" fmla="*/ 1 w 1575973"/>
                <a:gd name="connsiteY2" fmla="*/ 257442 h 257442"/>
                <a:gd name="connsiteX3" fmla="*/ 0 w 1575973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407655 w 1521251"/>
                <a:gd name="connsiteY0" fmla="*/ 0 h 257442"/>
                <a:gd name="connsiteX1" fmla="*/ 1521251 w 1521251"/>
                <a:gd name="connsiteY1" fmla="*/ 257442 h 257442"/>
                <a:gd name="connsiteX2" fmla="*/ 0 w 1521251"/>
                <a:gd name="connsiteY2" fmla="*/ 257442 h 257442"/>
                <a:gd name="connsiteX3" fmla="*/ 0 w 1521251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407655 w 1407655"/>
                <a:gd name="connsiteY0" fmla="*/ 0 h 257442"/>
                <a:gd name="connsiteX1" fmla="*/ 1352935 w 1407655"/>
                <a:gd name="connsiteY1" fmla="*/ 257442 h 257442"/>
                <a:gd name="connsiteX2" fmla="*/ 0 w 1407655"/>
                <a:gd name="connsiteY2" fmla="*/ 257442 h 257442"/>
                <a:gd name="connsiteX3" fmla="*/ 0 w 1407655"/>
                <a:gd name="connsiteY3" fmla="*/ 0 h 257442"/>
                <a:gd name="connsiteX0" fmla="*/ 1575972 w 1575972"/>
                <a:gd name="connsiteY0" fmla="*/ 0 h 257442"/>
                <a:gd name="connsiteX1" fmla="*/ 1352935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2 w 1575972"/>
                <a:gd name="connsiteY0" fmla="*/ 0 h 257442"/>
                <a:gd name="connsiteX1" fmla="*/ 1521250 w 1575972"/>
                <a:gd name="connsiteY1" fmla="*/ 257442 h 257442"/>
                <a:gd name="connsiteX2" fmla="*/ 0 w 1575972"/>
                <a:gd name="connsiteY2" fmla="*/ 257442 h 257442"/>
                <a:gd name="connsiteX3" fmla="*/ 0 w 1575972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575973 w 1575973"/>
                <a:gd name="connsiteY0" fmla="*/ 0 h 257442"/>
                <a:gd name="connsiteX1" fmla="*/ 1521251 w 1575973"/>
                <a:gd name="connsiteY1" fmla="*/ 257442 h 257442"/>
                <a:gd name="connsiteX2" fmla="*/ 0 w 1575973"/>
                <a:gd name="connsiteY2" fmla="*/ 257442 h 257442"/>
                <a:gd name="connsiteX3" fmla="*/ 1 w 1575973"/>
                <a:gd name="connsiteY3" fmla="*/ 0 h 257442"/>
                <a:gd name="connsiteX0" fmla="*/ 1829248 w 1829248"/>
                <a:gd name="connsiteY0" fmla="*/ 0 h 257442"/>
                <a:gd name="connsiteX1" fmla="*/ 1521251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1 w 1829248"/>
                <a:gd name="connsiteY3" fmla="*/ 0 h 257442"/>
                <a:gd name="connsiteX0" fmla="*/ 1829248 w 1829248"/>
                <a:gd name="connsiteY0" fmla="*/ 0 h 257442"/>
                <a:gd name="connsiteX1" fmla="*/ 1774526 w 1829248"/>
                <a:gd name="connsiteY1" fmla="*/ 257442 h 257442"/>
                <a:gd name="connsiteX2" fmla="*/ 0 w 1829248"/>
                <a:gd name="connsiteY2" fmla="*/ 257442 h 257442"/>
                <a:gd name="connsiteX3" fmla="*/ 0 w 1829248"/>
                <a:gd name="connsiteY3" fmla="*/ 0 h 257442"/>
                <a:gd name="connsiteX0" fmla="*/ 1989547 w 1989547"/>
                <a:gd name="connsiteY0" fmla="*/ 0 h 257442"/>
                <a:gd name="connsiteX1" fmla="*/ 17745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1989547 w 1989547"/>
                <a:gd name="connsiteY0" fmla="*/ 0 h 257442"/>
                <a:gd name="connsiteX1" fmla="*/ 1934826 w 1989547"/>
                <a:gd name="connsiteY1" fmla="*/ 257442 h 257442"/>
                <a:gd name="connsiteX2" fmla="*/ 0 w 1989547"/>
                <a:gd name="connsiteY2" fmla="*/ 257442 h 257442"/>
                <a:gd name="connsiteX3" fmla="*/ 0 w 1989547"/>
                <a:gd name="connsiteY3" fmla="*/ 0 h 257442"/>
                <a:gd name="connsiteX0" fmla="*/ 2149847 w 2149847"/>
                <a:gd name="connsiteY0" fmla="*/ 0 h 257442"/>
                <a:gd name="connsiteX1" fmla="*/ 19348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149847 w 2149847"/>
                <a:gd name="connsiteY0" fmla="*/ 0 h 257442"/>
                <a:gd name="connsiteX1" fmla="*/ 2095126 w 2149847"/>
                <a:gd name="connsiteY1" fmla="*/ 257442 h 257442"/>
                <a:gd name="connsiteX2" fmla="*/ 0 w 2149847"/>
                <a:gd name="connsiteY2" fmla="*/ 257442 h 257442"/>
                <a:gd name="connsiteX3" fmla="*/ 0 w 2149847"/>
                <a:gd name="connsiteY3" fmla="*/ 0 h 257442"/>
                <a:gd name="connsiteX0" fmla="*/ 2436784 w 2436784"/>
                <a:gd name="connsiteY0" fmla="*/ 0 h 257442"/>
                <a:gd name="connsiteX1" fmla="*/ 2095126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4 w 2436784"/>
                <a:gd name="connsiteY0" fmla="*/ 0 h 257442"/>
                <a:gd name="connsiteX1" fmla="*/ 2382062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5 w 2436785"/>
                <a:gd name="connsiteY0" fmla="*/ 0 h 257442"/>
                <a:gd name="connsiteX1" fmla="*/ 2382063 w 2436785"/>
                <a:gd name="connsiteY1" fmla="*/ 257442 h 257442"/>
                <a:gd name="connsiteX2" fmla="*/ 0 w 2436785"/>
                <a:gd name="connsiteY2" fmla="*/ 257442 h 257442"/>
                <a:gd name="connsiteX3" fmla="*/ 1 w 2436785"/>
                <a:gd name="connsiteY3" fmla="*/ 0 h 257442"/>
                <a:gd name="connsiteX0" fmla="*/ 2436785 w 2436785"/>
                <a:gd name="connsiteY0" fmla="*/ 0 h 257442"/>
                <a:gd name="connsiteX1" fmla="*/ 2382063 w 2436785"/>
                <a:gd name="connsiteY1" fmla="*/ 257442 h 257442"/>
                <a:gd name="connsiteX2" fmla="*/ 0 w 2436785"/>
                <a:gd name="connsiteY2" fmla="*/ 257442 h 257442"/>
                <a:gd name="connsiteX3" fmla="*/ 1 w 2436785"/>
                <a:gd name="connsiteY3" fmla="*/ 0 h 257442"/>
                <a:gd name="connsiteX0" fmla="*/ 2597086 w 2597086"/>
                <a:gd name="connsiteY0" fmla="*/ 0 h 257442"/>
                <a:gd name="connsiteX1" fmla="*/ 2382063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1 w 2597086"/>
                <a:gd name="connsiteY3" fmla="*/ 0 h 257442"/>
                <a:gd name="connsiteX0" fmla="*/ 2597086 w 2597086"/>
                <a:gd name="connsiteY0" fmla="*/ 0 h 257442"/>
                <a:gd name="connsiteX1" fmla="*/ 2542364 w 2597086"/>
                <a:gd name="connsiteY1" fmla="*/ 257442 h 257442"/>
                <a:gd name="connsiteX2" fmla="*/ 0 w 2597086"/>
                <a:gd name="connsiteY2" fmla="*/ 257442 h 257442"/>
                <a:gd name="connsiteX3" fmla="*/ 0 w 2597086"/>
                <a:gd name="connsiteY3" fmla="*/ 0 h 257442"/>
                <a:gd name="connsiteX0" fmla="*/ 2765400 w 2765400"/>
                <a:gd name="connsiteY0" fmla="*/ 0 h 257442"/>
                <a:gd name="connsiteX1" fmla="*/ 2542364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2765400 w 2765400"/>
                <a:gd name="connsiteY0" fmla="*/ 0 h 257442"/>
                <a:gd name="connsiteX1" fmla="*/ 2710679 w 2765400"/>
                <a:gd name="connsiteY1" fmla="*/ 257442 h 257442"/>
                <a:gd name="connsiteX2" fmla="*/ 0 w 2765400"/>
                <a:gd name="connsiteY2" fmla="*/ 257442 h 257442"/>
                <a:gd name="connsiteX3" fmla="*/ 0 w 2765400"/>
                <a:gd name="connsiteY3" fmla="*/ 0 h 257442"/>
                <a:gd name="connsiteX0" fmla="*/ 3034705 w 3034705"/>
                <a:gd name="connsiteY0" fmla="*/ 0 h 257442"/>
                <a:gd name="connsiteX1" fmla="*/ 2710679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034705 w 3034705"/>
                <a:gd name="connsiteY0" fmla="*/ 0 h 257442"/>
                <a:gd name="connsiteX1" fmla="*/ 2979984 w 3034705"/>
                <a:gd name="connsiteY1" fmla="*/ 257442 h 257442"/>
                <a:gd name="connsiteX2" fmla="*/ 0 w 3034705"/>
                <a:gd name="connsiteY2" fmla="*/ 257442 h 257442"/>
                <a:gd name="connsiteX3" fmla="*/ 0 w 3034705"/>
                <a:gd name="connsiteY3" fmla="*/ 0 h 257442"/>
                <a:gd name="connsiteX0" fmla="*/ 3290288 w 3290288"/>
                <a:gd name="connsiteY0" fmla="*/ 0 h 257442"/>
                <a:gd name="connsiteX1" fmla="*/ 2979984 w 3290288"/>
                <a:gd name="connsiteY1" fmla="*/ 257442 h 257442"/>
                <a:gd name="connsiteX2" fmla="*/ 0 w 3290288"/>
                <a:gd name="connsiteY2" fmla="*/ 257442 h 257442"/>
                <a:gd name="connsiteX3" fmla="*/ 0 w 3290288"/>
                <a:gd name="connsiteY3" fmla="*/ 0 h 257442"/>
                <a:gd name="connsiteX0" fmla="*/ 3290288 w 3290288"/>
                <a:gd name="connsiteY0" fmla="*/ 0 h 257442"/>
                <a:gd name="connsiteX1" fmla="*/ 3235566 w 3290288"/>
                <a:gd name="connsiteY1" fmla="*/ 257442 h 257442"/>
                <a:gd name="connsiteX2" fmla="*/ 0 w 3290288"/>
                <a:gd name="connsiteY2" fmla="*/ 257442 h 257442"/>
                <a:gd name="connsiteX3" fmla="*/ 0 w 3290288"/>
                <a:gd name="connsiteY3" fmla="*/ 0 h 257442"/>
                <a:gd name="connsiteX0" fmla="*/ 3290289 w 3290289"/>
                <a:gd name="connsiteY0" fmla="*/ 0 h 257442"/>
                <a:gd name="connsiteX1" fmla="*/ 3235567 w 3290289"/>
                <a:gd name="connsiteY1" fmla="*/ 257442 h 257442"/>
                <a:gd name="connsiteX2" fmla="*/ 0 w 3290289"/>
                <a:gd name="connsiteY2" fmla="*/ 257442 h 257442"/>
                <a:gd name="connsiteX3" fmla="*/ 1 w 3290289"/>
                <a:gd name="connsiteY3" fmla="*/ 0 h 257442"/>
                <a:gd name="connsiteX0" fmla="*/ 3290289 w 3290289"/>
                <a:gd name="connsiteY0" fmla="*/ 0 h 257442"/>
                <a:gd name="connsiteX1" fmla="*/ 3235567 w 3290289"/>
                <a:gd name="connsiteY1" fmla="*/ 257442 h 257442"/>
                <a:gd name="connsiteX2" fmla="*/ 0 w 3290289"/>
                <a:gd name="connsiteY2" fmla="*/ 257442 h 257442"/>
                <a:gd name="connsiteX3" fmla="*/ 1 w 3290289"/>
                <a:gd name="connsiteY3" fmla="*/ 0 h 257442"/>
                <a:gd name="connsiteX0" fmla="*/ 3450589 w 3450589"/>
                <a:gd name="connsiteY0" fmla="*/ 0 h 257442"/>
                <a:gd name="connsiteX1" fmla="*/ 3235567 w 3450589"/>
                <a:gd name="connsiteY1" fmla="*/ 257442 h 257442"/>
                <a:gd name="connsiteX2" fmla="*/ 0 w 3450589"/>
                <a:gd name="connsiteY2" fmla="*/ 257442 h 257442"/>
                <a:gd name="connsiteX3" fmla="*/ 1 w 3450589"/>
                <a:gd name="connsiteY3" fmla="*/ 0 h 257442"/>
                <a:gd name="connsiteX0" fmla="*/ 3450589 w 3450589"/>
                <a:gd name="connsiteY0" fmla="*/ 0 h 257442"/>
                <a:gd name="connsiteX1" fmla="*/ 3395868 w 3450589"/>
                <a:gd name="connsiteY1" fmla="*/ 257442 h 257442"/>
                <a:gd name="connsiteX2" fmla="*/ 0 w 3450589"/>
                <a:gd name="connsiteY2" fmla="*/ 257442 h 257442"/>
                <a:gd name="connsiteX3" fmla="*/ 1 w 3450589"/>
                <a:gd name="connsiteY3" fmla="*/ 0 h 257442"/>
                <a:gd name="connsiteX0" fmla="*/ 3450588 w 3450588"/>
                <a:gd name="connsiteY0" fmla="*/ 0 h 257442"/>
                <a:gd name="connsiteX1" fmla="*/ 3395867 w 3450588"/>
                <a:gd name="connsiteY1" fmla="*/ 257442 h 257442"/>
                <a:gd name="connsiteX2" fmla="*/ 0 w 3450588"/>
                <a:gd name="connsiteY2" fmla="*/ 257442 h 257442"/>
                <a:gd name="connsiteX3" fmla="*/ 0 w 3450588"/>
                <a:gd name="connsiteY3" fmla="*/ 0 h 257442"/>
                <a:gd name="connsiteX0" fmla="*/ 3450589 w 3450589"/>
                <a:gd name="connsiteY0" fmla="*/ 0 h 257442"/>
                <a:gd name="connsiteX1" fmla="*/ 3395868 w 3450589"/>
                <a:gd name="connsiteY1" fmla="*/ 257442 h 257442"/>
                <a:gd name="connsiteX2" fmla="*/ 1 w 3450589"/>
                <a:gd name="connsiteY2" fmla="*/ 257442 h 257442"/>
                <a:gd name="connsiteX3" fmla="*/ 0 w 3450589"/>
                <a:gd name="connsiteY3" fmla="*/ 0 h 257442"/>
                <a:gd name="connsiteX0" fmla="*/ 3610889 w 3610889"/>
                <a:gd name="connsiteY0" fmla="*/ 0 h 257442"/>
                <a:gd name="connsiteX1" fmla="*/ 33958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9 w 3610889"/>
                <a:gd name="connsiteY0" fmla="*/ 0 h 257442"/>
                <a:gd name="connsiteX1" fmla="*/ 35561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9 w 3610889"/>
                <a:gd name="connsiteY0" fmla="*/ 0 h 257442"/>
                <a:gd name="connsiteX1" fmla="*/ 3556168 w 3610889"/>
                <a:gd name="connsiteY1" fmla="*/ 257442 h 257442"/>
                <a:gd name="connsiteX2" fmla="*/ 1 w 3610889"/>
                <a:gd name="connsiteY2" fmla="*/ 257442 h 257442"/>
                <a:gd name="connsiteX3" fmla="*/ 0 w 3610889"/>
                <a:gd name="connsiteY3" fmla="*/ 0 h 257442"/>
                <a:gd name="connsiteX0" fmla="*/ 3610888 w 3610888"/>
                <a:gd name="connsiteY0" fmla="*/ 0 h 257442"/>
                <a:gd name="connsiteX1" fmla="*/ 3556167 w 3610888"/>
                <a:gd name="connsiteY1" fmla="*/ 257442 h 257442"/>
                <a:gd name="connsiteX2" fmla="*/ 0 w 3610888"/>
                <a:gd name="connsiteY2" fmla="*/ 257442 h 257442"/>
                <a:gd name="connsiteX3" fmla="*/ 0 w 3610888"/>
                <a:gd name="connsiteY3" fmla="*/ 0 h 257442"/>
                <a:gd name="connsiteX0" fmla="*/ 3779202 w 3779202"/>
                <a:gd name="connsiteY0" fmla="*/ 0 h 257442"/>
                <a:gd name="connsiteX1" fmla="*/ 3556167 w 3779202"/>
                <a:gd name="connsiteY1" fmla="*/ 257442 h 257442"/>
                <a:gd name="connsiteX2" fmla="*/ 0 w 3779202"/>
                <a:gd name="connsiteY2" fmla="*/ 257442 h 257442"/>
                <a:gd name="connsiteX3" fmla="*/ 0 w 3779202"/>
                <a:gd name="connsiteY3" fmla="*/ 0 h 257442"/>
                <a:gd name="connsiteX0" fmla="*/ 3779202 w 3779202"/>
                <a:gd name="connsiteY0" fmla="*/ 0 h 257442"/>
                <a:gd name="connsiteX1" fmla="*/ 3724481 w 3779202"/>
                <a:gd name="connsiteY1" fmla="*/ 257442 h 257442"/>
                <a:gd name="connsiteX2" fmla="*/ 0 w 3779202"/>
                <a:gd name="connsiteY2" fmla="*/ 257442 h 257442"/>
                <a:gd name="connsiteX3" fmla="*/ 0 w 3779202"/>
                <a:gd name="connsiteY3" fmla="*/ 0 h 257442"/>
                <a:gd name="connsiteX0" fmla="*/ 3779203 w 3779203"/>
                <a:gd name="connsiteY0" fmla="*/ 0 h 257442"/>
                <a:gd name="connsiteX1" fmla="*/ 3724482 w 3779203"/>
                <a:gd name="connsiteY1" fmla="*/ 257442 h 257442"/>
                <a:gd name="connsiteX2" fmla="*/ 0 w 3779203"/>
                <a:gd name="connsiteY2" fmla="*/ 257442 h 257442"/>
                <a:gd name="connsiteX3" fmla="*/ 1 w 3779203"/>
                <a:gd name="connsiteY3" fmla="*/ 0 h 257442"/>
                <a:gd name="connsiteX0" fmla="*/ 3779203 w 3779203"/>
                <a:gd name="connsiteY0" fmla="*/ 0 h 257442"/>
                <a:gd name="connsiteX1" fmla="*/ 3724482 w 3779203"/>
                <a:gd name="connsiteY1" fmla="*/ 257442 h 257442"/>
                <a:gd name="connsiteX2" fmla="*/ 0 w 3779203"/>
                <a:gd name="connsiteY2" fmla="*/ 257442 h 257442"/>
                <a:gd name="connsiteX3" fmla="*/ 1 w 3779203"/>
                <a:gd name="connsiteY3" fmla="*/ 0 h 257442"/>
                <a:gd name="connsiteX0" fmla="*/ 4099805 w 4099805"/>
                <a:gd name="connsiteY0" fmla="*/ 0 h 257442"/>
                <a:gd name="connsiteX1" fmla="*/ 3724482 w 4099805"/>
                <a:gd name="connsiteY1" fmla="*/ 257442 h 257442"/>
                <a:gd name="connsiteX2" fmla="*/ 0 w 4099805"/>
                <a:gd name="connsiteY2" fmla="*/ 257442 h 257442"/>
                <a:gd name="connsiteX3" fmla="*/ 1 w 4099805"/>
                <a:gd name="connsiteY3" fmla="*/ 0 h 257442"/>
                <a:gd name="connsiteX0" fmla="*/ 4099805 w 4099805"/>
                <a:gd name="connsiteY0" fmla="*/ 0 h 257442"/>
                <a:gd name="connsiteX1" fmla="*/ 4045084 w 4099805"/>
                <a:gd name="connsiteY1" fmla="*/ 257442 h 257442"/>
                <a:gd name="connsiteX2" fmla="*/ 0 w 4099805"/>
                <a:gd name="connsiteY2" fmla="*/ 257442 h 257442"/>
                <a:gd name="connsiteX3" fmla="*/ 1 w 4099805"/>
                <a:gd name="connsiteY3" fmla="*/ 0 h 257442"/>
                <a:gd name="connsiteX0" fmla="*/ 4099804 w 4099804"/>
                <a:gd name="connsiteY0" fmla="*/ 0 h 257442"/>
                <a:gd name="connsiteX1" fmla="*/ 4045083 w 4099804"/>
                <a:gd name="connsiteY1" fmla="*/ 257442 h 257442"/>
                <a:gd name="connsiteX2" fmla="*/ 0 w 4099804"/>
                <a:gd name="connsiteY2" fmla="*/ 257442 h 257442"/>
                <a:gd name="connsiteX3" fmla="*/ 0 w 4099804"/>
                <a:gd name="connsiteY3" fmla="*/ 0 h 257442"/>
                <a:gd name="connsiteX0" fmla="*/ 4099805 w 4099805"/>
                <a:gd name="connsiteY0" fmla="*/ 0 h 257442"/>
                <a:gd name="connsiteX1" fmla="*/ 4045084 w 4099805"/>
                <a:gd name="connsiteY1" fmla="*/ 257442 h 257442"/>
                <a:gd name="connsiteX2" fmla="*/ 1 w 4099805"/>
                <a:gd name="connsiteY2" fmla="*/ 257442 h 257442"/>
                <a:gd name="connsiteX3" fmla="*/ 0 w 4099805"/>
                <a:gd name="connsiteY3" fmla="*/ 0 h 257442"/>
                <a:gd name="connsiteX0" fmla="*/ 4378727 w 4378727"/>
                <a:gd name="connsiteY0" fmla="*/ 0 h 257442"/>
                <a:gd name="connsiteX1" fmla="*/ 4045084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7 w 4378727"/>
                <a:gd name="connsiteY0" fmla="*/ 0 h 257442"/>
                <a:gd name="connsiteX1" fmla="*/ 4324006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7 w 4378727"/>
                <a:gd name="connsiteY0" fmla="*/ 0 h 257442"/>
                <a:gd name="connsiteX1" fmla="*/ 4324006 w 4378727"/>
                <a:gd name="connsiteY1" fmla="*/ 257442 h 257442"/>
                <a:gd name="connsiteX2" fmla="*/ 1 w 4378727"/>
                <a:gd name="connsiteY2" fmla="*/ 257442 h 257442"/>
                <a:gd name="connsiteX3" fmla="*/ 0 w 4378727"/>
                <a:gd name="connsiteY3" fmla="*/ 0 h 257442"/>
                <a:gd name="connsiteX0" fmla="*/ 4378726 w 4378726"/>
                <a:gd name="connsiteY0" fmla="*/ 0 h 257442"/>
                <a:gd name="connsiteX1" fmla="*/ 4324005 w 4378726"/>
                <a:gd name="connsiteY1" fmla="*/ 257442 h 257442"/>
                <a:gd name="connsiteX2" fmla="*/ 0 w 4378726"/>
                <a:gd name="connsiteY2" fmla="*/ 257442 h 257442"/>
                <a:gd name="connsiteX3" fmla="*/ 0 w 4378726"/>
                <a:gd name="connsiteY3" fmla="*/ 0 h 257442"/>
                <a:gd name="connsiteX0" fmla="*/ 4547041 w 4547041"/>
                <a:gd name="connsiteY0" fmla="*/ 0 h 257442"/>
                <a:gd name="connsiteX1" fmla="*/ 4324005 w 4547041"/>
                <a:gd name="connsiteY1" fmla="*/ 257442 h 257442"/>
                <a:gd name="connsiteX2" fmla="*/ 0 w 4547041"/>
                <a:gd name="connsiteY2" fmla="*/ 257442 h 257442"/>
                <a:gd name="connsiteX3" fmla="*/ 0 w 4547041"/>
                <a:gd name="connsiteY3" fmla="*/ 0 h 257442"/>
                <a:gd name="connsiteX0" fmla="*/ 4547041 w 4547041"/>
                <a:gd name="connsiteY0" fmla="*/ 0 h 257442"/>
                <a:gd name="connsiteX1" fmla="*/ 4492320 w 4547041"/>
                <a:gd name="connsiteY1" fmla="*/ 257442 h 257442"/>
                <a:gd name="connsiteX2" fmla="*/ 0 w 4547041"/>
                <a:gd name="connsiteY2" fmla="*/ 257442 h 257442"/>
                <a:gd name="connsiteX3" fmla="*/ 0 w 4547041"/>
                <a:gd name="connsiteY3" fmla="*/ 0 h 257442"/>
                <a:gd name="connsiteX0" fmla="*/ 4547042 w 4547042"/>
                <a:gd name="connsiteY0" fmla="*/ 0 h 257442"/>
                <a:gd name="connsiteX1" fmla="*/ 4492321 w 4547042"/>
                <a:gd name="connsiteY1" fmla="*/ 257442 h 257442"/>
                <a:gd name="connsiteX2" fmla="*/ 0 w 4547042"/>
                <a:gd name="connsiteY2" fmla="*/ 257442 h 257442"/>
                <a:gd name="connsiteX3" fmla="*/ 1 w 4547042"/>
                <a:gd name="connsiteY3" fmla="*/ 0 h 257442"/>
                <a:gd name="connsiteX0" fmla="*/ 4547042 w 4547042"/>
                <a:gd name="connsiteY0" fmla="*/ 0 h 257442"/>
                <a:gd name="connsiteX1" fmla="*/ 4492321 w 4547042"/>
                <a:gd name="connsiteY1" fmla="*/ 257442 h 257442"/>
                <a:gd name="connsiteX2" fmla="*/ 0 w 4547042"/>
                <a:gd name="connsiteY2" fmla="*/ 257442 h 257442"/>
                <a:gd name="connsiteX3" fmla="*/ 0 w 4547042"/>
                <a:gd name="connsiteY3" fmla="*/ 0 h 257442"/>
                <a:gd name="connsiteX0" fmla="*/ 950801 w 4492321"/>
                <a:gd name="connsiteY0" fmla="*/ 0 h 257442"/>
                <a:gd name="connsiteX1" fmla="*/ 4492321 w 4492321"/>
                <a:gd name="connsiteY1" fmla="*/ 257442 h 257442"/>
                <a:gd name="connsiteX2" fmla="*/ 0 w 4492321"/>
                <a:gd name="connsiteY2" fmla="*/ 257442 h 257442"/>
                <a:gd name="connsiteX3" fmla="*/ 0 w 449232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212089 w 1212089"/>
                <a:gd name="connsiteY0" fmla="*/ 0 h 257442"/>
                <a:gd name="connsiteX1" fmla="*/ 896080 w 1212089"/>
                <a:gd name="connsiteY1" fmla="*/ 257442 h 257442"/>
                <a:gd name="connsiteX2" fmla="*/ 0 w 1212089"/>
                <a:gd name="connsiteY2" fmla="*/ 257442 h 257442"/>
                <a:gd name="connsiteX3" fmla="*/ 0 w 1212089"/>
                <a:gd name="connsiteY3" fmla="*/ 0 h 257442"/>
                <a:gd name="connsiteX0" fmla="*/ 1212089 w 1212089"/>
                <a:gd name="connsiteY0" fmla="*/ 0 h 257442"/>
                <a:gd name="connsiteX1" fmla="*/ 1157368 w 1212089"/>
                <a:gd name="connsiteY1" fmla="*/ 257442 h 257442"/>
                <a:gd name="connsiteX2" fmla="*/ 0 w 1212089"/>
                <a:gd name="connsiteY2" fmla="*/ 257442 h 257442"/>
                <a:gd name="connsiteX3" fmla="*/ 0 w 1212089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1 w 1212090"/>
                <a:gd name="connsiteY3" fmla="*/ 0 h 257442"/>
                <a:gd name="connsiteX0" fmla="*/ 1212090 w 1212090"/>
                <a:gd name="connsiteY0" fmla="*/ 0 h 257442"/>
                <a:gd name="connsiteX1" fmla="*/ 1157369 w 1212090"/>
                <a:gd name="connsiteY1" fmla="*/ 257442 h 257442"/>
                <a:gd name="connsiteX2" fmla="*/ 0 w 1212090"/>
                <a:gd name="connsiteY2" fmla="*/ 257442 h 257442"/>
                <a:gd name="connsiteX3" fmla="*/ 0 w 1212090"/>
                <a:gd name="connsiteY3" fmla="*/ 0 h 257442"/>
                <a:gd name="connsiteX0" fmla="*/ 1465365 w 1465365"/>
                <a:gd name="connsiteY0" fmla="*/ 0 h 257442"/>
                <a:gd name="connsiteX1" fmla="*/ 1157369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465365 w 1465365"/>
                <a:gd name="connsiteY0" fmla="*/ 0 h 257442"/>
                <a:gd name="connsiteX1" fmla="*/ 1410644 w 1465365"/>
                <a:gd name="connsiteY1" fmla="*/ 257442 h 257442"/>
                <a:gd name="connsiteX2" fmla="*/ 0 w 1465365"/>
                <a:gd name="connsiteY2" fmla="*/ 257442 h 257442"/>
                <a:gd name="connsiteX3" fmla="*/ 0 w 1465365"/>
                <a:gd name="connsiteY3" fmla="*/ 0 h 257442"/>
                <a:gd name="connsiteX0" fmla="*/ 1633680 w 1633680"/>
                <a:gd name="connsiteY0" fmla="*/ 0 h 257442"/>
                <a:gd name="connsiteX1" fmla="*/ 1410644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8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633681 w 1633681"/>
                <a:gd name="connsiteY0" fmla="*/ 0 h 257442"/>
                <a:gd name="connsiteX1" fmla="*/ 1578959 w 1633681"/>
                <a:gd name="connsiteY1" fmla="*/ 257442 h 257442"/>
                <a:gd name="connsiteX2" fmla="*/ 0 w 1633681"/>
                <a:gd name="connsiteY2" fmla="*/ 257442 h 257442"/>
                <a:gd name="connsiteX3" fmla="*/ 1 w 1633681"/>
                <a:gd name="connsiteY3" fmla="*/ 0 h 257442"/>
                <a:gd name="connsiteX0" fmla="*/ 1801996 w 1801996"/>
                <a:gd name="connsiteY0" fmla="*/ 0 h 257442"/>
                <a:gd name="connsiteX1" fmla="*/ 1578959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1 w 1801996"/>
                <a:gd name="connsiteY3" fmla="*/ 0 h 257442"/>
                <a:gd name="connsiteX0" fmla="*/ 1801996 w 1801996"/>
                <a:gd name="connsiteY0" fmla="*/ 0 h 257442"/>
                <a:gd name="connsiteX1" fmla="*/ 1747274 w 1801996"/>
                <a:gd name="connsiteY1" fmla="*/ 257442 h 257442"/>
                <a:gd name="connsiteX2" fmla="*/ 0 w 1801996"/>
                <a:gd name="connsiteY2" fmla="*/ 257442 h 257442"/>
                <a:gd name="connsiteX3" fmla="*/ 0 w 1801996"/>
                <a:gd name="connsiteY3" fmla="*/ 0 h 257442"/>
                <a:gd name="connsiteX0" fmla="*/ 2055270 w 2055270"/>
                <a:gd name="connsiteY0" fmla="*/ 0 h 257442"/>
                <a:gd name="connsiteX1" fmla="*/ 174727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9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215570 w 2215570"/>
                <a:gd name="connsiteY0" fmla="*/ 0 h 257442"/>
                <a:gd name="connsiteX1" fmla="*/ 20005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215570 w 2215570"/>
                <a:gd name="connsiteY0" fmla="*/ 0 h 257442"/>
                <a:gd name="connsiteX1" fmla="*/ 2160849 w 2215570"/>
                <a:gd name="connsiteY1" fmla="*/ 257442 h 257442"/>
                <a:gd name="connsiteX2" fmla="*/ 0 w 2215570"/>
                <a:gd name="connsiteY2" fmla="*/ 257442 h 257442"/>
                <a:gd name="connsiteX3" fmla="*/ 0 w 2215570"/>
                <a:gd name="connsiteY3" fmla="*/ 0 h 257442"/>
                <a:gd name="connsiteX0" fmla="*/ 2375870 w 2375870"/>
                <a:gd name="connsiteY0" fmla="*/ 0 h 257442"/>
                <a:gd name="connsiteX1" fmla="*/ 21608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375870 w 2375870"/>
                <a:gd name="connsiteY0" fmla="*/ 0 h 257442"/>
                <a:gd name="connsiteX1" fmla="*/ 2321149 w 2375870"/>
                <a:gd name="connsiteY1" fmla="*/ 257442 h 257442"/>
                <a:gd name="connsiteX2" fmla="*/ 0 w 2375870"/>
                <a:gd name="connsiteY2" fmla="*/ 257442 h 257442"/>
                <a:gd name="connsiteX3" fmla="*/ 0 w 2375870"/>
                <a:gd name="connsiteY3" fmla="*/ 0 h 257442"/>
                <a:gd name="connsiteX0" fmla="*/ 2645175 w 2645175"/>
                <a:gd name="connsiteY0" fmla="*/ 0 h 257442"/>
                <a:gd name="connsiteX1" fmla="*/ 2321149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0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0 w 2981805"/>
                <a:gd name="connsiteY3" fmla="*/ 0 h 257442"/>
                <a:gd name="connsiteX0" fmla="*/ 2813491 w 2927084"/>
                <a:gd name="connsiteY0" fmla="*/ 0 h 257442"/>
                <a:gd name="connsiteX1" fmla="*/ 2927084 w 2927084"/>
                <a:gd name="connsiteY1" fmla="*/ 257442 h 257442"/>
                <a:gd name="connsiteX2" fmla="*/ 0 w 2927084"/>
                <a:gd name="connsiteY2" fmla="*/ 257442 h 257442"/>
                <a:gd name="connsiteX3" fmla="*/ 0 w 2927084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0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1 w 2813491"/>
                <a:gd name="connsiteY2" fmla="*/ 257442 h 257442"/>
                <a:gd name="connsiteX3" fmla="*/ 0 w 2813491"/>
                <a:gd name="connsiteY3" fmla="*/ 0 h 257442"/>
                <a:gd name="connsiteX0" fmla="*/ 2813490 w 2813490"/>
                <a:gd name="connsiteY0" fmla="*/ 0 h 257442"/>
                <a:gd name="connsiteX1" fmla="*/ 2758769 w 2813490"/>
                <a:gd name="connsiteY1" fmla="*/ 257442 h 257442"/>
                <a:gd name="connsiteX2" fmla="*/ 0 w 2813490"/>
                <a:gd name="connsiteY2" fmla="*/ 257442 h 257442"/>
                <a:gd name="connsiteX3" fmla="*/ 0 w 2813490"/>
                <a:gd name="connsiteY3" fmla="*/ 0 h 257442"/>
                <a:gd name="connsiteX0" fmla="*/ 2981804 w 2981804"/>
                <a:gd name="connsiteY0" fmla="*/ 0 h 257442"/>
                <a:gd name="connsiteX1" fmla="*/ 2758769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2981804 w 2981804"/>
                <a:gd name="connsiteY0" fmla="*/ 0 h 257442"/>
                <a:gd name="connsiteX1" fmla="*/ 2927083 w 2981804"/>
                <a:gd name="connsiteY1" fmla="*/ 257442 h 257442"/>
                <a:gd name="connsiteX2" fmla="*/ 0 w 2981804"/>
                <a:gd name="connsiteY2" fmla="*/ 257442 h 257442"/>
                <a:gd name="connsiteX3" fmla="*/ 0 w 2981804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1 w 2981805"/>
                <a:gd name="connsiteY3" fmla="*/ 0 h 257442"/>
                <a:gd name="connsiteX0" fmla="*/ 3150122 w 3150122"/>
                <a:gd name="connsiteY0" fmla="*/ 0 h 257442"/>
                <a:gd name="connsiteX1" fmla="*/ 2927084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1 w 3150122"/>
                <a:gd name="connsiteY3" fmla="*/ 0 h 257442"/>
                <a:gd name="connsiteX0" fmla="*/ 3150122 w 3150122"/>
                <a:gd name="connsiteY0" fmla="*/ 0 h 257442"/>
                <a:gd name="connsiteX1" fmla="*/ 3095400 w 3150122"/>
                <a:gd name="connsiteY1" fmla="*/ 257442 h 257442"/>
                <a:gd name="connsiteX2" fmla="*/ 0 w 3150122"/>
                <a:gd name="connsiteY2" fmla="*/ 257442 h 257442"/>
                <a:gd name="connsiteX3" fmla="*/ 0 w 3150122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3318436 w 3318436"/>
                <a:gd name="connsiteY0" fmla="*/ 0 h 257442"/>
                <a:gd name="connsiteX1" fmla="*/ 3263715 w 3318436"/>
                <a:gd name="connsiteY1" fmla="*/ 257442 h 257442"/>
                <a:gd name="connsiteX2" fmla="*/ 0 w 3318436"/>
                <a:gd name="connsiteY2" fmla="*/ 257442 h 257442"/>
                <a:gd name="connsiteX3" fmla="*/ 0 w 3318436"/>
                <a:gd name="connsiteY3" fmla="*/ 0 h 257442"/>
                <a:gd name="connsiteX0" fmla="*/ 968434 w 3263715"/>
                <a:gd name="connsiteY0" fmla="*/ 0 h 257442"/>
                <a:gd name="connsiteX1" fmla="*/ 3263715 w 3263715"/>
                <a:gd name="connsiteY1" fmla="*/ 257442 h 257442"/>
                <a:gd name="connsiteX2" fmla="*/ 0 w 3263715"/>
                <a:gd name="connsiteY2" fmla="*/ 257442 h 257442"/>
                <a:gd name="connsiteX3" fmla="*/ 0 w 3263715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4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0 h 257442"/>
                <a:gd name="connsiteX0" fmla="*/ 968433 w 968433"/>
                <a:gd name="connsiteY0" fmla="*/ 0 h 257442"/>
                <a:gd name="connsiteX1" fmla="*/ 913713 w 968433"/>
                <a:gd name="connsiteY1" fmla="*/ 257442 h 257442"/>
                <a:gd name="connsiteX2" fmla="*/ 0 w 968433"/>
                <a:gd name="connsiteY2" fmla="*/ 257442 h 257442"/>
                <a:gd name="connsiteX3" fmla="*/ 0 w 968433"/>
                <a:gd name="connsiteY3" fmla="*/ 0 h 257442"/>
                <a:gd name="connsiteX0" fmla="*/ 1128734 w 1128734"/>
                <a:gd name="connsiteY0" fmla="*/ 0 h 257442"/>
                <a:gd name="connsiteX1" fmla="*/ 9137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297051 w 1297051"/>
                <a:gd name="connsiteY0" fmla="*/ 0 h 257442"/>
                <a:gd name="connsiteX1" fmla="*/ 1074013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1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1 w 1297051"/>
                <a:gd name="connsiteY2" fmla="*/ 257442 h 257442"/>
                <a:gd name="connsiteX3" fmla="*/ 0 w 1297051"/>
                <a:gd name="connsiteY3" fmla="*/ 0 h 257442"/>
                <a:gd name="connsiteX0" fmla="*/ 1566355 w 1566355"/>
                <a:gd name="connsiteY0" fmla="*/ 0 h 257442"/>
                <a:gd name="connsiteX1" fmla="*/ 1242330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5 w 1566355"/>
                <a:gd name="connsiteY0" fmla="*/ 0 h 257442"/>
                <a:gd name="connsiteX1" fmla="*/ 1511634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5 w 1566355"/>
                <a:gd name="connsiteY0" fmla="*/ 0 h 257442"/>
                <a:gd name="connsiteX1" fmla="*/ 1511634 w 1566355"/>
                <a:gd name="connsiteY1" fmla="*/ 257442 h 257442"/>
                <a:gd name="connsiteX2" fmla="*/ 1 w 1566355"/>
                <a:gd name="connsiteY2" fmla="*/ 257442 h 257442"/>
                <a:gd name="connsiteX3" fmla="*/ 0 w 1566355"/>
                <a:gd name="connsiteY3" fmla="*/ 0 h 257442"/>
                <a:gd name="connsiteX0" fmla="*/ 1566354 w 1566354"/>
                <a:gd name="connsiteY0" fmla="*/ 0 h 257442"/>
                <a:gd name="connsiteX1" fmla="*/ 1511633 w 1566354"/>
                <a:gd name="connsiteY1" fmla="*/ 257442 h 257442"/>
                <a:gd name="connsiteX2" fmla="*/ 0 w 1566354"/>
                <a:gd name="connsiteY2" fmla="*/ 257442 h 257442"/>
                <a:gd name="connsiteX3" fmla="*/ 0 w 1566354"/>
                <a:gd name="connsiteY3" fmla="*/ 0 h 257442"/>
                <a:gd name="connsiteX0" fmla="*/ 1821936 w 1821936"/>
                <a:gd name="connsiteY0" fmla="*/ 0 h 257442"/>
                <a:gd name="connsiteX1" fmla="*/ 1511633 w 1821936"/>
                <a:gd name="connsiteY1" fmla="*/ 257442 h 257442"/>
                <a:gd name="connsiteX2" fmla="*/ 0 w 1821936"/>
                <a:gd name="connsiteY2" fmla="*/ 257442 h 257442"/>
                <a:gd name="connsiteX3" fmla="*/ 0 w 1821936"/>
                <a:gd name="connsiteY3" fmla="*/ 0 h 257442"/>
                <a:gd name="connsiteX0" fmla="*/ 1821936 w 1821936"/>
                <a:gd name="connsiteY0" fmla="*/ 0 h 257442"/>
                <a:gd name="connsiteX1" fmla="*/ 1767215 w 1821936"/>
                <a:gd name="connsiteY1" fmla="*/ 257442 h 257442"/>
                <a:gd name="connsiteX2" fmla="*/ 0 w 1821936"/>
                <a:gd name="connsiteY2" fmla="*/ 257442 h 257442"/>
                <a:gd name="connsiteX3" fmla="*/ 0 w 1821936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1 w 1821937"/>
                <a:gd name="connsiteY3" fmla="*/ 0 h 257442"/>
                <a:gd name="connsiteX0" fmla="*/ 1821937 w 1821937"/>
                <a:gd name="connsiteY0" fmla="*/ 0 h 257442"/>
                <a:gd name="connsiteX1" fmla="*/ 1767216 w 1821937"/>
                <a:gd name="connsiteY1" fmla="*/ 257442 h 257442"/>
                <a:gd name="connsiteX2" fmla="*/ 0 w 1821937"/>
                <a:gd name="connsiteY2" fmla="*/ 257442 h 257442"/>
                <a:gd name="connsiteX3" fmla="*/ 1 w 1821937"/>
                <a:gd name="connsiteY3" fmla="*/ 0 h 257442"/>
                <a:gd name="connsiteX0" fmla="*/ 1982238 w 1982238"/>
                <a:gd name="connsiteY0" fmla="*/ 0 h 257442"/>
                <a:gd name="connsiteX1" fmla="*/ 17672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1 w 1982238"/>
                <a:gd name="connsiteY3" fmla="*/ 0 h 257442"/>
                <a:gd name="connsiteX0" fmla="*/ 1982238 w 1982238"/>
                <a:gd name="connsiteY0" fmla="*/ 0 h 257442"/>
                <a:gd name="connsiteX1" fmla="*/ 1927516 w 1982238"/>
                <a:gd name="connsiteY1" fmla="*/ 257442 h 257442"/>
                <a:gd name="connsiteX2" fmla="*/ 0 w 1982238"/>
                <a:gd name="connsiteY2" fmla="*/ 257442 h 257442"/>
                <a:gd name="connsiteX3" fmla="*/ 0 w 1982238"/>
                <a:gd name="connsiteY3" fmla="*/ 0 h 257442"/>
                <a:gd name="connsiteX0" fmla="*/ 2142538 w 2142538"/>
                <a:gd name="connsiteY0" fmla="*/ 0 h 257442"/>
                <a:gd name="connsiteX1" fmla="*/ 1927516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142538 w 2142538"/>
                <a:gd name="connsiteY0" fmla="*/ 0 h 257442"/>
                <a:gd name="connsiteX1" fmla="*/ 2087817 w 2142538"/>
                <a:gd name="connsiteY1" fmla="*/ 257442 h 257442"/>
                <a:gd name="connsiteX2" fmla="*/ 0 w 2142538"/>
                <a:gd name="connsiteY2" fmla="*/ 257442 h 257442"/>
                <a:gd name="connsiteX3" fmla="*/ 0 w 2142538"/>
                <a:gd name="connsiteY3" fmla="*/ 0 h 257442"/>
                <a:gd name="connsiteX0" fmla="*/ 2310852 w 2310852"/>
                <a:gd name="connsiteY0" fmla="*/ 0 h 257442"/>
                <a:gd name="connsiteX1" fmla="*/ 2087817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631453 w 2631453"/>
                <a:gd name="connsiteY0" fmla="*/ 0 h 257442"/>
                <a:gd name="connsiteX1" fmla="*/ 2256131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631453 w 2631453"/>
                <a:gd name="connsiteY0" fmla="*/ 0 h 257442"/>
                <a:gd name="connsiteX1" fmla="*/ 2576732 w 2631453"/>
                <a:gd name="connsiteY1" fmla="*/ 257442 h 257442"/>
                <a:gd name="connsiteX2" fmla="*/ 0 w 2631453"/>
                <a:gd name="connsiteY2" fmla="*/ 257442 h 257442"/>
                <a:gd name="connsiteX3" fmla="*/ 0 w 2631453"/>
                <a:gd name="connsiteY3" fmla="*/ 0 h 257442"/>
                <a:gd name="connsiteX0" fmla="*/ 2910376 w 2910376"/>
                <a:gd name="connsiteY0" fmla="*/ 0 h 257442"/>
                <a:gd name="connsiteX1" fmla="*/ 2576732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4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3078692 w 3078692"/>
                <a:gd name="connsiteY0" fmla="*/ 0 h 257442"/>
                <a:gd name="connsiteX1" fmla="*/ 2855655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0 w 3078692"/>
                <a:gd name="connsiteY3" fmla="*/ 0 h 257442"/>
                <a:gd name="connsiteX0" fmla="*/ 2910376 w 3023970"/>
                <a:gd name="connsiteY0" fmla="*/ 0 h 257442"/>
                <a:gd name="connsiteX1" fmla="*/ 3023970 w 3023970"/>
                <a:gd name="connsiteY1" fmla="*/ 257442 h 257442"/>
                <a:gd name="connsiteX2" fmla="*/ 0 w 3023970"/>
                <a:gd name="connsiteY2" fmla="*/ 257442 h 257442"/>
                <a:gd name="connsiteX3" fmla="*/ 0 w 3023970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5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732443 w 2855655"/>
                <a:gd name="connsiteY0" fmla="*/ 0 h 257442"/>
                <a:gd name="connsiteX1" fmla="*/ 2855655 w 2855655"/>
                <a:gd name="connsiteY1" fmla="*/ 257442 h 257442"/>
                <a:gd name="connsiteX2" fmla="*/ 0 w 2855655"/>
                <a:gd name="connsiteY2" fmla="*/ 257442 h 257442"/>
                <a:gd name="connsiteX3" fmla="*/ 0 w 2855655"/>
                <a:gd name="connsiteY3" fmla="*/ 0 h 257442"/>
                <a:gd name="connsiteX0" fmla="*/ 2732443 w 2732443"/>
                <a:gd name="connsiteY0" fmla="*/ 0 h 257442"/>
                <a:gd name="connsiteX1" fmla="*/ 2677723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3 w 2732443"/>
                <a:gd name="connsiteY1" fmla="*/ 257442 h 257442"/>
                <a:gd name="connsiteX2" fmla="*/ 1 w 2732443"/>
                <a:gd name="connsiteY2" fmla="*/ 257442 h 257442"/>
                <a:gd name="connsiteX3" fmla="*/ 0 w 2732443"/>
                <a:gd name="connsiteY3" fmla="*/ 0 h 257442"/>
                <a:gd name="connsiteX0" fmla="*/ 2732442 w 2732442"/>
                <a:gd name="connsiteY0" fmla="*/ 0 h 257442"/>
                <a:gd name="connsiteX1" fmla="*/ 2677722 w 2732442"/>
                <a:gd name="connsiteY1" fmla="*/ 257442 h 257442"/>
                <a:gd name="connsiteX2" fmla="*/ 0 w 2732442"/>
                <a:gd name="connsiteY2" fmla="*/ 257442 h 257442"/>
                <a:gd name="connsiteX3" fmla="*/ 0 w 2732442"/>
                <a:gd name="connsiteY3" fmla="*/ 0 h 257442"/>
                <a:gd name="connsiteX0" fmla="*/ 2463137 w 2677722"/>
                <a:gd name="connsiteY0" fmla="*/ 0 h 257442"/>
                <a:gd name="connsiteX1" fmla="*/ 2677722 w 2677722"/>
                <a:gd name="connsiteY1" fmla="*/ 257442 h 257442"/>
                <a:gd name="connsiteX2" fmla="*/ 0 w 2677722"/>
                <a:gd name="connsiteY2" fmla="*/ 257442 h 257442"/>
                <a:gd name="connsiteX3" fmla="*/ 0 w 2677722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463137 w 2463137"/>
                <a:gd name="connsiteY0" fmla="*/ 0 h 257442"/>
                <a:gd name="connsiteX1" fmla="*/ 2408416 w 2463137"/>
                <a:gd name="connsiteY1" fmla="*/ 257442 h 257442"/>
                <a:gd name="connsiteX2" fmla="*/ 0 w 2463137"/>
                <a:gd name="connsiteY2" fmla="*/ 257442 h 257442"/>
                <a:gd name="connsiteX3" fmla="*/ 0 w 2463137"/>
                <a:gd name="connsiteY3" fmla="*/ 0 h 257442"/>
                <a:gd name="connsiteX0" fmla="*/ 2310852 w 2408416"/>
                <a:gd name="connsiteY0" fmla="*/ 0 h 257442"/>
                <a:gd name="connsiteX1" fmla="*/ 2408416 w 2408416"/>
                <a:gd name="connsiteY1" fmla="*/ 257442 h 257442"/>
                <a:gd name="connsiteX2" fmla="*/ 0 w 2408416"/>
                <a:gd name="connsiteY2" fmla="*/ 257442 h 257442"/>
                <a:gd name="connsiteX3" fmla="*/ 0 w 2408416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471153 w 2471153"/>
                <a:gd name="connsiteY0" fmla="*/ 0 h 257442"/>
                <a:gd name="connsiteX1" fmla="*/ 2256131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471153 w 2471153"/>
                <a:gd name="connsiteY0" fmla="*/ 0 h 257442"/>
                <a:gd name="connsiteX1" fmla="*/ 2416432 w 2471153"/>
                <a:gd name="connsiteY1" fmla="*/ 257442 h 257442"/>
                <a:gd name="connsiteX2" fmla="*/ 0 w 2471153"/>
                <a:gd name="connsiteY2" fmla="*/ 257442 h 257442"/>
                <a:gd name="connsiteX3" fmla="*/ 0 w 2471153"/>
                <a:gd name="connsiteY3" fmla="*/ 0 h 257442"/>
                <a:gd name="connsiteX0" fmla="*/ 2310852 w 2416432"/>
                <a:gd name="connsiteY0" fmla="*/ 0 h 257442"/>
                <a:gd name="connsiteX1" fmla="*/ 2416432 w 2416432"/>
                <a:gd name="connsiteY1" fmla="*/ 257442 h 257442"/>
                <a:gd name="connsiteX2" fmla="*/ 0 w 2416432"/>
                <a:gd name="connsiteY2" fmla="*/ 257442 h 257442"/>
                <a:gd name="connsiteX3" fmla="*/ 0 w 241643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310852 w 2310852"/>
                <a:gd name="connsiteY0" fmla="*/ 0 h 257442"/>
                <a:gd name="connsiteX1" fmla="*/ 2256131 w 2310852"/>
                <a:gd name="connsiteY1" fmla="*/ 257442 h 257442"/>
                <a:gd name="connsiteX2" fmla="*/ 0 w 2310852"/>
                <a:gd name="connsiteY2" fmla="*/ 257442 h 257442"/>
                <a:gd name="connsiteX3" fmla="*/ 0 w 2310852"/>
                <a:gd name="connsiteY3" fmla="*/ 0 h 257442"/>
                <a:gd name="connsiteX0" fmla="*/ 2479168 w 2479168"/>
                <a:gd name="connsiteY0" fmla="*/ 0 h 257442"/>
                <a:gd name="connsiteX1" fmla="*/ 2256131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479168 w 2479168"/>
                <a:gd name="connsiteY0" fmla="*/ 0 h 257442"/>
                <a:gd name="connsiteX1" fmla="*/ 2424447 w 2479168"/>
                <a:gd name="connsiteY1" fmla="*/ 257442 h 257442"/>
                <a:gd name="connsiteX2" fmla="*/ 0 w 2479168"/>
                <a:gd name="connsiteY2" fmla="*/ 257442 h 257442"/>
                <a:gd name="connsiteX3" fmla="*/ 0 w 2479168"/>
                <a:gd name="connsiteY3" fmla="*/ 0 h 257442"/>
                <a:gd name="connsiteX0" fmla="*/ 2732443 w 2732443"/>
                <a:gd name="connsiteY0" fmla="*/ 0 h 257442"/>
                <a:gd name="connsiteX1" fmla="*/ 2424447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732443 w 2732443"/>
                <a:gd name="connsiteY0" fmla="*/ 0 h 257442"/>
                <a:gd name="connsiteX1" fmla="*/ 2677722 w 2732443"/>
                <a:gd name="connsiteY1" fmla="*/ 257442 h 257442"/>
                <a:gd name="connsiteX2" fmla="*/ 0 w 2732443"/>
                <a:gd name="connsiteY2" fmla="*/ 257442 h 257442"/>
                <a:gd name="connsiteX3" fmla="*/ 0 w 2732443"/>
                <a:gd name="connsiteY3" fmla="*/ 0 h 257442"/>
                <a:gd name="connsiteX0" fmla="*/ 2910376 w 2910376"/>
                <a:gd name="connsiteY0" fmla="*/ 0 h 257442"/>
                <a:gd name="connsiteX1" fmla="*/ 2677722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6 w 2910376"/>
                <a:gd name="connsiteY0" fmla="*/ 0 h 257442"/>
                <a:gd name="connsiteX1" fmla="*/ 2855654 w 2910376"/>
                <a:gd name="connsiteY1" fmla="*/ 257442 h 257442"/>
                <a:gd name="connsiteX2" fmla="*/ 0 w 2910376"/>
                <a:gd name="connsiteY2" fmla="*/ 257442 h 257442"/>
                <a:gd name="connsiteX3" fmla="*/ 0 w 2910376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2910377 w 2910377"/>
                <a:gd name="connsiteY0" fmla="*/ 0 h 257442"/>
                <a:gd name="connsiteX1" fmla="*/ 2855655 w 2910377"/>
                <a:gd name="connsiteY1" fmla="*/ 257442 h 257442"/>
                <a:gd name="connsiteX2" fmla="*/ 0 w 2910377"/>
                <a:gd name="connsiteY2" fmla="*/ 257442 h 257442"/>
                <a:gd name="connsiteX3" fmla="*/ 1 w 2910377"/>
                <a:gd name="connsiteY3" fmla="*/ 0 h 257442"/>
                <a:gd name="connsiteX0" fmla="*/ 3078692 w 3078692"/>
                <a:gd name="connsiteY0" fmla="*/ 0 h 257442"/>
                <a:gd name="connsiteX1" fmla="*/ 2855655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1 w 3078692"/>
                <a:gd name="connsiteY3" fmla="*/ 0 h 257442"/>
                <a:gd name="connsiteX0" fmla="*/ 3078692 w 3078692"/>
                <a:gd name="connsiteY0" fmla="*/ 0 h 257442"/>
                <a:gd name="connsiteX1" fmla="*/ 3023970 w 3078692"/>
                <a:gd name="connsiteY1" fmla="*/ 257442 h 257442"/>
                <a:gd name="connsiteX2" fmla="*/ 0 w 3078692"/>
                <a:gd name="connsiteY2" fmla="*/ 257442 h 257442"/>
                <a:gd name="connsiteX3" fmla="*/ 0 w 3078692"/>
                <a:gd name="connsiteY3" fmla="*/ 0 h 257442"/>
                <a:gd name="connsiteX0" fmla="*/ 3238992 w 3238992"/>
                <a:gd name="connsiteY0" fmla="*/ 0 h 257442"/>
                <a:gd name="connsiteX1" fmla="*/ 3023970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238992 w 3238992"/>
                <a:gd name="connsiteY0" fmla="*/ 0 h 257442"/>
                <a:gd name="connsiteX1" fmla="*/ 3184271 w 3238992"/>
                <a:gd name="connsiteY1" fmla="*/ 257442 h 257442"/>
                <a:gd name="connsiteX2" fmla="*/ 0 w 3238992"/>
                <a:gd name="connsiteY2" fmla="*/ 257442 h 257442"/>
                <a:gd name="connsiteX3" fmla="*/ 0 w 3238992"/>
                <a:gd name="connsiteY3" fmla="*/ 0 h 257442"/>
                <a:gd name="connsiteX0" fmla="*/ 3543562 w 3543562"/>
                <a:gd name="connsiteY0" fmla="*/ 0 h 257442"/>
                <a:gd name="connsiteX1" fmla="*/ 318427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543562 w 3543562"/>
                <a:gd name="connsiteY0" fmla="*/ 0 h 257442"/>
                <a:gd name="connsiteX1" fmla="*/ 3488841 w 3543562"/>
                <a:gd name="connsiteY1" fmla="*/ 257442 h 257442"/>
                <a:gd name="connsiteX2" fmla="*/ 0 w 3543562"/>
                <a:gd name="connsiteY2" fmla="*/ 257442 h 257442"/>
                <a:gd name="connsiteX3" fmla="*/ 0 w 3543562"/>
                <a:gd name="connsiteY3" fmla="*/ 0 h 257442"/>
                <a:gd name="connsiteX0" fmla="*/ 3703863 w 3703863"/>
                <a:gd name="connsiteY0" fmla="*/ 0 h 257442"/>
                <a:gd name="connsiteX1" fmla="*/ 3488841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703863 w 3703863"/>
                <a:gd name="connsiteY0" fmla="*/ 0 h 257442"/>
                <a:gd name="connsiteX1" fmla="*/ 3649142 w 3703863"/>
                <a:gd name="connsiteY1" fmla="*/ 257442 h 257442"/>
                <a:gd name="connsiteX2" fmla="*/ 0 w 3703863"/>
                <a:gd name="connsiteY2" fmla="*/ 257442 h 257442"/>
                <a:gd name="connsiteX3" fmla="*/ 0 w 3703863"/>
                <a:gd name="connsiteY3" fmla="*/ 0 h 257442"/>
                <a:gd name="connsiteX0" fmla="*/ 3872177 w 3872177"/>
                <a:gd name="connsiteY0" fmla="*/ 0 h 257442"/>
                <a:gd name="connsiteX1" fmla="*/ 3649142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3872177 w 3872177"/>
                <a:gd name="connsiteY0" fmla="*/ 0 h 257442"/>
                <a:gd name="connsiteX1" fmla="*/ 3817456 w 3872177"/>
                <a:gd name="connsiteY1" fmla="*/ 257442 h 257442"/>
                <a:gd name="connsiteX2" fmla="*/ 0 w 3872177"/>
                <a:gd name="connsiteY2" fmla="*/ 257442 h 257442"/>
                <a:gd name="connsiteX3" fmla="*/ 0 w 3872177"/>
                <a:gd name="connsiteY3" fmla="*/ 0 h 257442"/>
                <a:gd name="connsiteX0" fmla="*/ 4125452 w 4125452"/>
                <a:gd name="connsiteY0" fmla="*/ 0 h 257442"/>
                <a:gd name="connsiteX1" fmla="*/ 3817456 w 4125452"/>
                <a:gd name="connsiteY1" fmla="*/ 257442 h 257442"/>
                <a:gd name="connsiteX2" fmla="*/ 0 w 4125452"/>
                <a:gd name="connsiteY2" fmla="*/ 257442 h 257442"/>
                <a:gd name="connsiteX3" fmla="*/ 0 w 4125452"/>
                <a:gd name="connsiteY3" fmla="*/ 0 h 257442"/>
                <a:gd name="connsiteX0" fmla="*/ 4125452 w 4125452"/>
                <a:gd name="connsiteY0" fmla="*/ 0 h 257442"/>
                <a:gd name="connsiteX1" fmla="*/ 4070730 w 4125452"/>
                <a:gd name="connsiteY1" fmla="*/ 257442 h 257442"/>
                <a:gd name="connsiteX2" fmla="*/ 0 w 4125452"/>
                <a:gd name="connsiteY2" fmla="*/ 257442 h 257442"/>
                <a:gd name="connsiteX3" fmla="*/ 0 w 4125452"/>
                <a:gd name="connsiteY3" fmla="*/ 0 h 257442"/>
                <a:gd name="connsiteX0" fmla="*/ 4125453 w 4125453"/>
                <a:gd name="connsiteY0" fmla="*/ 0 h 257442"/>
                <a:gd name="connsiteX1" fmla="*/ 4070731 w 4125453"/>
                <a:gd name="connsiteY1" fmla="*/ 257442 h 257442"/>
                <a:gd name="connsiteX2" fmla="*/ 0 w 4125453"/>
                <a:gd name="connsiteY2" fmla="*/ 257442 h 257442"/>
                <a:gd name="connsiteX3" fmla="*/ 1 w 4125453"/>
                <a:gd name="connsiteY3" fmla="*/ 0 h 257442"/>
                <a:gd name="connsiteX0" fmla="*/ 4125453 w 4125453"/>
                <a:gd name="connsiteY0" fmla="*/ 0 h 257442"/>
                <a:gd name="connsiteX1" fmla="*/ 4070731 w 4125453"/>
                <a:gd name="connsiteY1" fmla="*/ 257442 h 257442"/>
                <a:gd name="connsiteX2" fmla="*/ 0 w 4125453"/>
                <a:gd name="connsiteY2" fmla="*/ 257442 h 257442"/>
                <a:gd name="connsiteX3" fmla="*/ 1 w 4125453"/>
                <a:gd name="connsiteY3" fmla="*/ 0 h 257442"/>
                <a:gd name="connsiteX0" fmla="*/ 4285753 w 4285753"/>
                <a:gd name="connsiteY0" fmla="*/ 0 h 257442"/>
                <a:gd name="connsiteX1" fmla="*/ 4070731 w 4285753"/>
                <a:gd name="connsiteY1" fmla="*/ 257442 h 257442"/>
                <a:gd name="connsiteX2" fmla="*/ 0 w 4285753"/>
                <a:gd name="connsiteY2" fmla="*/ 257442 h 257442"/>
                <a:gd name="connsiteX3" fmla="*/ 1 w 4285753"/>
                <a:gd name="connsiteY3" fmla="*/ 0 h 257442"/>
                <a:gd name="connsiteX0" fmla="*/ 4285753 w 4285753"/>
                <a:gd name="connsiteY0" fmla="*/ 0 h 257442"/>
                <a:gd name="connsiteX1" fmla="*/ 4231032 w 4285753"/>
                <a:gd name="connsiteY1" fmla="*/ 257442 h 257442"/>
                <a:gd name="connsiteX2" fmla="*/ 0 w 4285753"/>
                <a:gd name="connsiteY2" fmla="*/ 257442 h 257442"/>
                <a:gd name="connsiteX3" fmla="*/ 1 w 4285753"/>
                <a:gd name="connsiteY3" fmla="*/ 0 h 257442"/>
                <a:gd name="connsiteX0" fmla="*/ 4285752 w 4285752"/>
                <a:gd name="connsiteY0" fmla="*/ 0 h 257442"/>
                <a:gd name="connsiteX1" fmla="*/ 4231031 w 4285752"/>
                <a:gd name="connsiteY1" fmla="*/ 257442 h 257442"/>
                <a:gd name="connsiteX2" fmla="*/ 0 w 4285752"/>
                <a:gd name="connsiteY2" fmla="*/ 257442 h 257442"/>
                <a:gd name="connsiteX3" fmla="*/ 0 w 4285752"/>
                <a:gd name="connsiteY3" fmla="*/ 0 h 257442"/>
                <a:gd name="connsiteX0" fmla="*/ 4285753 w 4285753"/>
                <a:gd name="connsiteY0" fmla="*/ 0 h 257442"/>
                <a:gd name="connsiteX1" fmla="*/ 4231032 w 4285753"/>
                <a:gd name="connsiteY1" fmla="*/ 257442 h 257442"/>
                <a:gd name="connsiteX2" fmla="*/ 1 w 4285753"/>
                <a:gd name="connsiteY2" fmla="*/ 257442 h 257442"/>
                <a:gd name="connsiteX3" fmla="*/ 0 w 4285753"/>
                <a:gd name="connsiteY3" fmla="*/ 0 h 257442"/>
                <a:gd name="connsiteX0" fmla="*/ 4446053 w 4446053"/>
                <a:gd name="connsiteY0" fmla="*/ 0 h 257442"/>
                <a:gd name="connsiteX1" fmla="*/ 42310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3 w 4446053"/>
                <a:gd name="connsiteY0" fmla="*/ 0 h 257442"/>
                <a:gd name="connsiteX1" fmla="*/ 43913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3 w 4446053"/>
                <a:gd name="connsiteY0" fmla="*/ 0 h 257442"/>
                <a:gd name="connsiteX1" fmla="*/ 4391332 w 4446053"/>
                <a:gd name="connsiteY1" fmla="*/ 257442 h 257442"/>
                <a:gd name="connsiteX2" fmla="*/ 1 w 4446053"/>
                <a:gd name="connsiteY2" fmla="*/ 257442 h 257442"/>
                <a:gd name="connsiteX3" fmla="*/ 0 w 4446053"/>
                <a:gd name="connsiteY3" fmla="*/ 0 h 257442"/>
                <a:gd name="connsiteX0" fmla="*/ 4446052 w 4446052"/>
                <a:gd name="connsiteY0" fmla="*/ 0 h 257442"/>
                <a:gd name="connsiteX1" fmla="*/ 4391331 w 4446052"/>
                <a:gd name="connsiteY1" fmla="*/ 257442 h 257442"/>
                <a:gd name="connsiteX2" fmla="*/ 0 w 4446052"/>
                <a:gd name="connsiteY2" fmla="*/ 257442 h 257442"/>
                <a:gd name="connsiteX3" fmla="*/ 0 w 4446052"/>
                <a:gd name="connsiteY3" fmla="*/ 0 h 257442"/>
                <a:gd name="connsiteX0" fmla="*/ 782549 w 4391331"/>
                <a:gd name="connsiteY0" fmla="*/ 0 h 257442"/>
                <a:gd name="connsiteX1" fmla="*/ 4391331 w 4391331"/>
                <a:gd name="connsiteY1" fmla="*/ 257442 h 257442"/>
                <a:gd name="connsiteX2" fmla="*/ 0 w 4391331"/>
                <a:gd name="connsiteY2" fmla="*/ 257442 h 257442"/>
                <a:gd name="connsiteX3" fmla="*/ 0 w 4391331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968434 w 968434"/>
                <a:gd name="connsiteY0" fmla="*/ 0 h 257442"/>
                <a:gd name="connsiteX1" fmla="*/ 727829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0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1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1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0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0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0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0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0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233204 w 2233204"/>
                <a:gd name="connsiteY0" fmla="*/ 0 h 257442"/>
                <a:gd name="connsiteX1" fmla="*/ 2000549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1 w 2233204"/>
                <a:gd name="connsiteY3" fmla="*/ 0 h 257442"/>
                <a:gd name="connsiteX0" fmla="*/ 2233204 w 2233204"/>
                <a:gd name="connsiteY0" fmla="*/ 0 h 257442"/>
                <a:gd name="connsiteX1" fmla="*/ 2178482 w 2233204"/>
                <a:gd name="connsiteY1" fmla="*/ 257442 h 257442"/>
                <a:gd name="connsiteX2" fmla="*/ 0 w 2233204"/>
                <a:gd name="connsiteY2" fmla="*/ 257442 h 257442"/>
                <a:gd name="connsiteX3" fmla="*/ 0 w 2233204"/>
                <a:gd name="connsiteY3" fmla="*/ 0 h 257442"/>
                <a:gd name="connsiteX0" fmla="*/ 2520141 w 2520141"/>
                <a:gd name="connsiteY0" fmla="*/ 0 h 257442"/>
                <a:gd name="connsiteX1" fmla="*/ 2178482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520141 w 2520141"/>
                <a:gd name="connsiteY0" fmla="*/ 0 h 257442"/>
                <a:gd name="connsiteX1" fmla="*/ 2465420 w 2520141"/>
                <a:gd name="connsiteY1" fmla="*/ 257442 h 257442"/>
                <a:gd name="connsiteX2" fmla="*/ 0 w 2520141"/>
                <a:gd name="connsiteY2" fmla="*/ 257442 h 257442"/>
                <a:gd name="connsiteX3" fmla="*/ 0 w 2520141"/>
                <a:gd name="connsiteY3" fmla="*/ 0 h 257442"/>
                <a:gd name="connsiteX0" fmla="*/ 2781430 w 2781430"/>
                <a:gd name="connsiteY0" fmla="*/ 0 h 257442"/>
                <a:gd name="connsiteX1" fmla="*/ 2465420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0 w 2781430"/>
                <a:gd name="connsiteY0" fmla="*/ 0 h 257442"/>
                <a:gd name="connsiteX1" fmla="*/ 2726708 w 2781430"/>
                <a:gd name="connsiteY1" fmla="*/ 257442 h 257442"/>
                <a:gd name="connsiteX2" fmla="*/ 0 w 2781430"/>
                <a:gd name="connsiteY2" fmla="*/ 257442 h 257442"/>
                <a:gd name="connsiteX3" fmla="*/ 0 w 2781430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  <a:gd name="connsiteX0" fmla="*/ 2781431 w 2781431"/>
                <a:gd name="connsiteY0" fmla="*/ 0 h 257442"/>
                <a:gd name="connsiteX1" fmla="*/ 2726709 w 2781431"/>
                <a:gd name="connsiteY1" fmla="*/ 257442 h 257442"/>
                <a:gd name="connsiteX2" fmla="*/ 0 w 2781431"/>
                <a:gd name="connsiteY2" fmla="*/ 257442 h 257442"/>
                <a:gd name="connsiteX3" fmla="*/ 1 w 278143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1431" h="257442">
                  <a:moveTo>
                    <a:pt x="2781431" y="0"/>
                  </a:moveTo>
                  <a:lnTo>
                    <a:pt x="2726709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RunningAgenda1LevelTextLeft392144">
              <a:extLst>
                <a:ext uri="{FF2B5EF4-FFF2-40B4-BE49-F238E27FC236}">
                  <a16:creationId xmlns:a16="http://schemas.microsoft.com/office/drawing/2014/main" id="{2B612BB3-8FBE-9FA1-47E2-EB8D5BB216DC}"/>
                </a:ext>
              </a:extLst>
            </p:cNvPr>
            <p:cNvSpPr txBox="1"/>
            <p:nvPr/>
          </p:nvSpPr>
          <p:spPr bwMode="gray">
            <a:xfrm>
              <a:off x="0" y="876300"/>
              <a:ext cx="272670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marketing-mix</a:t>
              </a:r>
            </a:p>
          </p:txBody>
        </p:sp>
      </p:grpSp>
      <p:pic>
        <p:nvPicPr>
          <p:cNvPr id="4" name="Picture 4" descr="Sanpellegrino Logo PNG Transparent &amp; SVG Vector - Freebie Supply">
            <a:extLst>
              <a:ext uri="{FF2B5EF4-FFF2-40B4-BE49-F238E27FC236}">
                <a16:creationId xmlns:a16="http://schemas.microsoft.com/office/drawing/2014/main" id="{4039D71E-C552-501F-70B8-E0228CF58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893" y="5432951"/>
            <a:ext cx="961240" cy="961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4B807C93-3B63-6676-0208-39D6DD2F4742}"/>
              </a:ext>
            </a:extLst>
          </p:cNvPr>
          <p:cNvSpPr/>
          <p:nvPr/>
        </p:nvSpPr>
        <p:spPr bwMode="gray">
          <a:xfrm>
            <a:off x="804015" y="1823332"/>
            <a:ext cx="2997228" cy="4581246"/>
          </a:xfrm>
          <a:prstGeom prst="rect">
            <a:avLst/>
          </a:prstGeom>
          <a:noFill/>
          <a:ln w="1905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6" name="btfpNotesBox222394">
            <a:extLst>
              <a:ext uri="{FF2B5EF4-FFF2-40B4-BE49-F238E27FC236}">
                <a16:creationId xmlns:a16="http://schemas.microsoft.com/office/drawing/2014/main" id="{F9929F2C-F526-C821-0D4C-AD3BA7BFD51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446736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LTM is May’24-Apr’25; LLTM is May’23-Apr’24 | Source: </a:t>
            </a:r>
            <a:r>
              <a:rPr lang="en-US" sz="800" err="1">
                <a:solidFill>
                  <a:srgbClr val="000000"/>
                </a:solidFill>
              </a:rPr>
              <a:t>Vivvix</a:t>
            </a:r>
            <a:r>
              <a:rPr lang="en-US" sz="800">
                <a:solidFill>
                  <a:srgbClr val="000000"/>
                </a:solidFill>
              </a:rPr>
              <a:t> (Kantar), </a:t>
            </a:r>
            <a:r>
              <a:rPr lang="en-US" sz="800" err="1">
                <a:solidFill>
                  <a:srgbClr val="000000"/>
                </a:solidFill>
              </a:rPr>
              <a:t>Pathmatics</a:t>
            </a:r>
            <a:r>
              <a:rPr lang="en-US" sz="800">
                <a:solidFill>
                  <a:srgbClr val="000000"/>
                </a:solidFill>
              </a:rPr>
              <a:t>, SEMrush</a:t>
            </a:r>
          </a:p>
        </p:txBody>
      </p:sp>
      <p:sp>
        <p:nvSpPr>
          <p:cNvPr id="18" name="btfpMGChart15043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jPEhjUiUXcADKRp21sDU+MnKpFfqvg431dAjfmT6tDp1wm0JEHr9+GCsgAFdCxfNSFmBmE9Pzs7RluZslftOm4g+E15z+FZzywW+cg41+xpxr5O5CwXaM5siEMz8pBgqftkvHfqd08TIFiONxr9BqkjbtA+EzPaw07T/W0FdpGtg18l/MDbJN4bFknhdXhzB8tSNUgD9r4dyEalI3zbWoOp9VPyCmGYxasxMCND7NJ2MxysFYOmRS+WtUxpXQRFut7TM6EDOWl8XkYQu8sJ5FOpcJaHzBjUX8QLVeKURDs68v3/2QlsszOQvpiXpx94yNAvBu4Ok6bxcTa3cKOHMjKV8YontQ0ZD0nL61adS5IHxSvRuLDua/RkDbhCeftjACGGHa0xFhxUKsQdj4PbEgPQMJU9ZcNfr2f9rIZvUJ7JJOPubKU5vsvbsTAO66srvmeudceOtjFie3w2opxjYcyjdD0Z0lWsIsFZ+w9FAaTqWp9HT8pcBwJ8yq6IkVQPA4wtb04YHNJNAFUcfBye/LO2PA5Gt60CuhbR0wZB3U0laMxswQbAhXfircu7/sdA5pZ0aJNy9PvrgWfluoJTMk3I49sbTkdM+P0eA/g22FiOHdAi5fsgrDhbkzpfr4BpoBLYum4OBEDJvfb4P7bf9KyV002Ux3sXqao6TKbfYBQed8e/Jkc/0ZN5Q+GOTjOnmB73cbbf3jPNRDiROYb3SA4sN+A1bl/gNgXAmIpHPvnwdTKWQNkCaDt8E5erspKJJa1EjTtWc+ZSE7a6SZKLIGNX3P7Fri/1+wO7A+fSKnukRbMJXsr49Tk/XBW+dA4wGmM4nWPLOEYyxMu5aURni+KPH+DGHCpuM1uCMNDgORosv5yvOqkvquRyNJC5YVfJFx9SADl4QkdVpBGaiBs3/Vu8ps6zJnh0QcqTo2FDYlCIYK7jKcd5p9mk057ywFi2UUZoIwXOe1WvwMrMfYmdpa/tRYQ1YXup6xbnoU3vi4+ZU8AGMJvKuc77O8JrT3Fnuj8mdSbPQSyFDPKhJ08mBRIamNNolSlbpSDVDQwHoN7Hr8qtOgT5xy6iF58cEgwqsUPAukj/Qt1+hQFAmjk+K0rryB9turQ69995UxJpJ8KxCzZAq/scVgjpQuKeHaQXv8Vgcisz9sKjUPg1EzeATrJd9KozWnYK7wfVUtgRBElb+3gicNVH8p9x7Hjt351pGnopO8AT7ncaI+IFum0yQwBqXpg0wXBXSznXSoguo58IbByvgYlaYonvM2yqICPRs+xQEWUKOJhd1h8BoedrRwFOPNbSTKHggA4ieQLNvA/cSzBTAvpKyuPkKGKl15oC8Rsp8Hrjup/YRayW0vkHJ2cDcQjpBajJM56vsIUWjvarwFkDXE9LXmNQSVkyyf/LNMi0wYG+08uzpImvjgX0n3lXGp83f7bardLlYaZ62187WEnsA23nIHqMV1GUpA8d5ft+iDEI2UcsMfjHSiN9oWwLKKlIsl9nH2dqkgbDgw1DMlCyr7qzQ+wYM5F1fpLE+xU3AO5934UOyk0rey1GBUJD7iI30KXERE3fgJg7uO6Ha8ckCbBJMKG6U3uiWHNhI73T4TXjy4yxxoAx4rJnO+ok+Fr1ArcTkxilHF47+2FajC6H2AkygnZNFnqlwb53n56PDcIJdeGOCuWFuKkbzpMI/tUXE2OGAbHPn3A0wmeBumIBNsD/Ya1/uzTP6t1HaHx9lUrXnrr82yu3ZAk0Jf0Aam5OT00d080x/txLxCp9ZlPNUjmQ6imJpSIsMphqDFzQZuEmhFxbBk4iMlrr42YwLY9KxfkaGiqaF7leBBsBHDs4efYR5FENIlUh+VPfOWF4ac6jo8bjpM6CgAdpvdaBSKwBBOo8OA685jcaYvqHzLJ7N0dh27ZcijzXSpLWYxkQ1xOP74FAuQgXDbg23S8t/Eh4LpxVDDKuSealnxZNDi5k2w0DZZDhO892LY4y9ByI6DZAZtfjKGadbf+j78W0p6R01kza1Sl8nKbLakLdM5b8lS/sqXilWV41RnljtKrEjOg4X5pS83CZQqlzIteAK3vneMIH8O+u4obHAKroXhKQzIirt3IehGVPgXVg6k0voBQt3V+kAJ6cxwvjRF9Aghe5O5KzoVIzZN9vf0X3VnxXgsVv1MSUPnsP9r1kM0f2ZFm/s41qNnMtC/NgTYu2t8OiBNem18Td9MRz4NZQBn8iV70rcT+QgT64/db59oyFcTe6fJ1Q871K2hcLBX2NOzCHqd9x6zaY+iSdCVj7meDmc4b0xOLTgJPvPU7Fx2AuyP116Nphzck13q8ZN8JnF4tuz23ymXGBjaDPNXY835DOLCQTJUJExvbVfLMS9but+B8f7PnDsqLsERkUbaK9EvuVFB7tVFJFHdiLS97uc7RPtTl0vSII+7T6KV8avV/jpmcyLhk886OKZOEVpQVYDMxCoD0vgrU6B1Ffz/4AGthGETDFnDRlKMSEq4KVhGoWC3VOwtR9kSgSWjf5RDh9zZfPKN5JCdx8YZ9x9VjmmMJHS58NtC+wfUcBKwF7o/h0eYnTdtYgw2EfKEHKK4UZA4kU/mRX8XD5u669bWJ8MFDjdYsZ7kGSvAGhyIaVyjY4YApyuyjL2On9elWJruV3IizQTsRPemAikGxJcLlf0YcU/YuQCn77ohQMmJ1oghxfEBwKV7kBiDJAWbAWyOE5PpWBbHL6KYrQ9DMR3l4vISy7e3cU+JDGxUNv6eILNQBfryq6ZpkHAZ/j0o49sfE1SzKLGyUrI+rzI6A+Vd9o7jEcy9YzlhExRCZ1mYCCXG5hh2bIh8J94lS5H2h8RSQ1Q2UWFkq3UrFGTwsIHjrP4aN+UyS5wpcjtPx5I0Y9YktvSo9XPwSgpa/AiQMTKsMNzN4LOeUSFX91OkYLPfPR6t2o4Hne2uGoranyuFIaHkOUrxZNHgZNXg0XrjN8XYNVvtzAY4k4y4gun2RCmKzMCjhTzB8gnTGpl7kBFTqfRLuZBgj0zODMQpxU0x9/qpDaaxHJM7WKFdtd+ZZ5ipjf3cyzIAyIkUkBcFLgCq3rRxYQEmPE/vwezTbWyN8Mpe69JZgcs7d2sfTer88nu5palt3UAHX0WQP6YLYVzKvoyJ0O8AK1ZkWuKI2R415uXMtJRM/l4nOa6SmYAwT+vSPEyrwdxJ/AjFvB9CI403N13IBm+xive3zdxQaCCz7Jh1bEGK5WCgJZRTeqGLL8kJ8SEwXnGLlxjDKtBS/QID0LjrkBUdYbqqMrqhZGmGPZvoCcYDqYVNq+Ci+JGW0lME4azKJwyj8DucHyN3n//P3/BAnmg9jSOax5lnboa2Flj9g22lCLHWX6FmPVTaOdaQ2/D6xcpFraBpTlZrV6TinCSga40OVXGc5RQYBP7zKXZL48m373vrYzM8AYiIO3keNL5FCqpt0kDBYyy0bb05N1WcwIMq8pMa6BZoG8V7uye5wEZX/jJnQwFChpoU1rb6GA9VjptL1+mVF1LRmP8iImyvpb3NA9fjYqvx4eLvR1lrySq3uIu7/OS/UK8Vk8TtPzJs1Nl008Y6CEQq7mvBCmWW835YahkjhMSrnzJsctTHPzTjAk6yOSrm7C1keu0DbMNalsEqVteFMCopQRdnlUDTlrOslLp+KWRPA+PB/hsuQew87hCLGQ7F0UcUo+74PwmKEz5jA1W5wCRumGBG2a29kDktkjI75r0vTPuZb0kvoZvDoxA1vAzCggRW4zPllunJtXLLv3UPvU9FihoRJZJpkEZNSTwvrW20G/BjUVFT0YNzONT0uXUQHmD0LahGnEtSvqMUD9hCkwlzY3103Jb6DArNjWrU/rncLLWOYNfr8V7Wz00kTNRQanHbsQOzGyjicernuCcb7kMMVRkXYZp74LXOJrmlqGURQYFoT+UGb0CVA/tSn5DBEg5uHqyDTlTLsWbtdicZWgsK5OoaCoc/CUwbQ36B9KIgk/tKLElSYwp3nCkFhLAmwht9C0B7uoUK/Np3382+byJl0lMRacdPYOWqXiUbB8Kl9Rl3i7ZuiKdRqKSXWSXcIjF828EQTm6GQqi5o8BqGf9IqxnHvqvMKE6UYzkiIaezpODDQlUDGpOK7m9k2bbFeLOFSBaO+rfCWs/rmCEFNuyMdhL9wdI8FF/MmchnvC2WYpYE++d+ZfCsZykoGtx0AXMI88H+72kMqsVzsKB+B8ujW/c8AGJa2ruh4GUkKPCjwLZYXyAp2IDBWL5jqZuGTkLiNGWserbhZmO1GVclhZEoXdPxV+BbiU7PSg9Ufwj9f8eGBX8Qt/R48IevAhzOIWvbeVN/+gPRrdb8uyn8qvVclPrlTzC+nBcm257Tz6dMmwAGkbXFspL7mJUh7TxJSrjO4kmpMBN50nnFUig7WhKlA5quOMgWc40GrSyo9wKdoYphJ6eG4xxa5cUzoHc8umv0Ak9wWxyZh8gTcbSRFheVNvzHoGsm9+9A1nnTX5CLk9ilXQzgRcw+z7J3+KDda0C47Z3mBy7X+SOxw2NIYOj2FC5nkbRYkb29VU2Gr6UQ6xtiiEnY7UvABx331YLuc/Inyg9zKx5RCHiAokYdnxY3LC8uO65opUnClItSS5/HQ+JcE365TTTFp0+Iul7ZcOwb2yfamslbhIbWbp9DuvUpVDZWIlGnjUnLtAqpFH7QFHivh3k0rhvG+pnjGocwWH2noXL3EoNwVHmMHzb0jnDMZOXm091+S8879IgsFVbLsW5PcHi/UXJplTFbfREdwHtz7FbQlYg2p7fOuDwFqZkn2Vc5zPAPEppF/mm1Xofl+R8xr7A5MD3GdZbGZMKHXVBBbQgUv7EpUjyM4zH3yQcACtj9YX19YfrlgtOG+HLzUdIEu8jhz2WvZ8aq+9bGahXcmp/SFp1sg5594diH6R30pPV9q0Ckp7SOgIVBqtpQJWuew5A7LCW58mwy9BaeZ3R2FW3Z5wZwwiqQElEHFYMR6FxNcArET8KAWFfMMfaFDJTLCiEbIBA8N6Z+I5YMk2vurcHgpG8xDrTNnAK2qXjNjJeSzkIZ1Enqmm/yuVTxAocrrrH1CjN3QtpKw/qPtliI1L5M0+7xe+ILnjbqtQCXy9dpj9tEJt400ZlTn0h2Ez89u6DXmJVQ36b8rvLN/WmUJKWmsgSZgF/GxRaAchXaiJmRvt+LsSB3SazkhAGaOg3FAh2SCnZE3yK5r4wyKzqAbf2GxtNlImg5uSMCNjNiUsLw9gWBwxCG7mNWYCeA5ZRg0AII1bhRxIeY4HemIqAc74WmpAMS3FaJxlTMgIgav+cKCOW1NFEFeGw7l5iXHo4dgensd3h6C++O+MCSFMUZmpLXabcE+0Gqkb8j65GVvOuxo0inNLPAZ+Em0a+FmbwFRweAY+wArX0MgApJJ71RL4iiJvpz6Ssa3pChbZgflqDt4ACXSosJMS11FLROY6QvvDhXjc/vcmefd0JJ31BtL97MRtuc6gvijEagiN6+Znq2GmUv47DP8iGW41MwZadlx1GkEwss5gbDQdZPHZmi4HQKVYOm+Qw1Bl7i2vWvc3iH+HLAdvH/2egHPyRc+iHkhbQ8L8FbID+ccNCsu8e7eC5zLQaNtIL0fA8PnqCaVmTILwi1XS13J2Hty4HGcOLJSEenYNV6T+7VX2XcxjbzdGWDNUPem7tbt1556dH5dASM2GfyexfYxNF2giq9O2AEJCNXP6v264vEdcbPa7Ghin1QtmxpymWGx/ZHrth63EF3Y/y/05htupTBWzxb1lhLDUQ+psCuuDAlAdLp0Utbp61RYm/crFnWkZmCD4IWWWkVEqx7/yRJR7Nlb1EKmt1zhL94tOSMM8mgdkgOh1TN5MO4/MBcX9WFebkcqQLCFzIMPFjd9lKEj8dZ2C+onM4xhGCP/chr/W+bCV/vY8PQ0ywkVU+BSWt9z7cm9jAA2Mnib/057Csv+qhonszJWftu/qbGH+v5Z2Cyts/RegI4ReZoRJMzvYxY7wUKQybd0EAj+Up5WQszIBsVItGeAmy+VViZYS4aPGSAYeiZMcQV0mUp4DxZps2Q6JU9j2DOsI+k4JTZVqaenew+7fkXpYym830i6VZsPa4EGbf/FheL1w/dCPlZcX9UXgSEwxpo3W3W3S4Bdu7gRUeqivhqUBjgjRu9fZJFe/+bhC04gimGzntGzo5t/s6OXh3XUI65/uB5G+Zae5nXW1AfsiHzLJuIHbVl1DGGhnmoWHcjp26KmFkhwjFSDZnGeao7kgyVhZL7bEJaOMl7I8zHlcUrPmw8Bsk3XrllVfXKLxJnE1btn5Zh7fLbHM5T2qi1o4/q/13e7r9mFzLThEDEar9vb2TleLRBTgDxYWsq1zceO4Ce7OOasia+g/9d0dvsNOE7DDEo3DoZGAdGCFt4qCfJ84mBRGWpCa/jvYLuSkVFohpz/fn4/OFKbNf6jqJcK6KrzgpaDx+KLMrvk+t/UcnPGmDHjQo4qR/hiBsU+lW8YfXOwoQB93Z83bt8yQxGaaCOy+Mv064jlUwOlHR2nWXpMIAQ6Z+EbsI9TZ+TCjoBs3Hwh3/nLJ4EdJ/qE8olvmbA4tDWxUsrHc7s/kcfPrIpqoWeJ+3k0wUM/yK7UFHExOzlo0E7cZUDcT5tZ/763P8gRqScInmoV3OggSAZF8kJKkQUlBN9ieQzbLcgdDLssqMJLuUh3TpbIg6P7ZdK4sMACCTT23diL7hCxpx4oJRr50r0aVCto2PKsrkRJKoaBYwde2cEfU09YjOB10EqAQqHCmL6QPV3EcX6oZXEMSdn3QKxOyGEP7XZ2d5aTGYW14xSf/AbBmBIlDNp7XMcY1w8gfd895dmbYCAWchyGr/hAvMl6EsDk2LruGFoQGRjO3jjVwCiCDgBNrIKCUQ+ZHKZ+jkaTgu/UbPmCu4aSE0GxOgTHuQGVdjhjNzoT7+KOJwWDW9GT8pF13iQyeueQDAVoC8sF9MbtgtcOsQZmMsnKn/pmv5UO5tAuRWqvp3Nx/QriFRzDhGbBxUYlK8JG6dx32cYI6EE5Yxd2wPyvEOEEx1o1LVNZIHfDRmwRuu3EMwKfQ5QWHOcsCYUYVyzmNoROU6iVb/wbuzOe47WkJ4QnGuwHBvh7PRQ3SwgFDcRhx0ISZo2ssEcMSLx95ttLvaoJMZJFSgTetv/hXFCpQ9qV8MYxD1PXWvpf6P4JJX4m/lmXb6nQi/6rnzCJFIs7nYdGHDPsIgZZbvwW3qx9Wg2II9AFitB9HDvRZEYFP0ks//MUS7vYzZ3SPvl4U6+BmBm16x0MqMDIlFcDukwdSaCzgVCMMtdR2t1XCYbpGA9o5DVBWS3CquitcapDwDERPD/PLTtGQWI3eXTC+OuL63fbLzxmt71Uhr8yclkZTgOWODot6S/c9RNc7/9xD9KEyqx33Bhx9BoNk58o3O6u1HERDaqC42FQXmICH6EdOEOWKAHUMMQJPc8QFXzFMMcF0w7yGNDTJ/L44OGd3KiLwAkQP8UTpGSVsTEt56/A4qwX6MVLxt25OQrq/n3GSZ0O5BQZR9RavSCwoz4MnGGCZfasP4MyVWi3Z2qaQU5lR6bJw7HcJ9ictwxjUIyy82UYWhxJIZc2UZsszucuRAlNyXvHJ0AoI/BjV7oV8rIH4MWwZ4Ut9tXdclgNfo5BEr7lVw2+dgqZITNJO7T0qjxo1dwuwmTnIAeOJWqjt0GZiswmnq4rHa3z4yQ/bVSTEPWHhNaOd73hq6KfRqxBVK6G7X3/L2jgCuQMUVLU6HkZrORP4V9zF0ObS2OY9BXoSq3qxX8hpI//ie4jWbKfcbQ+OA1NtYbcMuU0+FZJPv0k1OMwuF5LzeyVdRdnGIX7NjEguBeCZ5JXyf73Fhvj1QLg5O++29u2o+Q7IX5onH8oFZXCTSkd91Co4OuMd9NmRFIFiVbXySuxh11h7lRCemEsZ90mOMpgWmVl+lYIAUx46ngmVI/OmpfWbyTukvppGeSwJOAJyxXRnOtJS0TgTzfPPDUJ2X48H0E0DPaHmQXKSuaJBsoK2ReyeXWDW0r5ojuOE3M0x5HbeQgLVGECKNENq3c8SJ7zb3ll9K0FBo5+VRDc8gZHhhF+3JJsZmUk06LZnpfLxIr1KWVitrd4xi0VGnBNRMhvWW1XrBOIV+/wVQTi9aTv07Phkf4bKwD6KLYEMmLXT8HmSI4CZfI2rpzmeTlNb5rdw7BxEjEUMpgI0KLqiMkH4TI2tKj/oCsIyaZ/czkV8ZbAnYnLKUuKxG9rPg/BtwX32z5sj7qJIDkk5hi4aczFvTCNKChuP4RdaeoBzvJT5MGXC/FzoyE3kbIdS49RLpnrzKK5DsIdnrxp3KGTT6LcnTAfCaz+dj1ls6cdxy6ANVXV9tKv26FDKkL2ddbAbJvaP9I9hN1r+cjmXxtke8h7hyW03ifMx2PMOmFZgF2NScw9LNARFmQJlrumE753joUIRwhgYUC9/nrvsscs2WUhffHk2rWy4d37f2jyVEVDZXc6ZHICFz15vdyhZrjRmLEIYSbXCk/3yIoIgSwSJnj46qbLEbgTdGFAWLGNBpeelK1Y8MiLMYgoFG8dCkHAJ1U7LP+UdbPIJ6DhvQYsWwjjyAuZ+F92PY2Kq2EBJVeg74XHfKz59MoPuTab7NHH1w3+Go2zOmuP7Mdz2g+9IfJ7RXYnY0geIewtpOePp7sYLUuynykSBggftaGYzVKGT6jBjhwzzjE5T6WQG/9Sgy/XP/wWkywp1Db3DAC4SoMZRjlzhqe2ZbsjhYiJrkCaVnTYKQppXA6nIZ8znKAPlKdJouudzWEetqqD0tLvBiVZ+GT2/N1L3GnxPxXPMHKm2bC6uKwpTGG4prEfgF7i7pGHuxczPaLeZleMJXsPMVBcSV7v29ZJV+SijTtREQPDoV9OygRXLKyVKX1PBLPiRFMQFovsxphmoqNZf2vqyphyO4B5ZQSULCUKSmfOT+NJA22KtDfChtPeZq0qXhcU5rgoy85VyCPXuobOCLq6kgbaA5JozfUTGyZn9pc3U7PZrX5GGYJP/0rUiewQEzSa7D4t1g0u0YidkTq4QNGAGwVCKmS/4FQNwkBsY0RJro8lXxc1cp1Kcd95n/Z8czRL1bbsW057CuNbEZ2q38DlN8udmBOo5S1rY5WORPYFYgngBkpKvLG1uj1q/eIgbsZpSDewpEcSkGm1C6aZyl+SLj7hOrVmIWQ916JP1WTjQI8NyBMM+CkjndiB+qS2AAQCvTN8BET62dZdsZPEWhuka1Qa56hugqmH+Uj7oXUOdkcgbfNSVvDTIAaGA9wmJbAMeYFziGz11Z6qA4AKaaCEAoSf7z0mJ/4pzJhySc92MGIu3uLaEd2eix3gwUg5cCh7IrWCkZQd5uRceNbahguNjJEE8H7Xth4OxriofHmA02505eHam9fz32tlIcItEG9MmiIP9CPTPq7Mj5znxsuqtVo4jLUbv8Qa7w1wpj35TfVLfIdyHZk0O8eWKS5/nfV3FwhjKmnVAqcdU1zGSnTYmybUARANtskO20U3KXgGDQci2B6nvcnoTp4DiuHXtyG9Rt3r3T4yedWzlp5+0GnFp/FeD0O8iMj/QLiCkLA5TcY4KDZVIx3LK8HsCN3sxtEdTeqTaavKpDqkY8dUteJHvaDzcQIReGIuH4ZwY2eswX0jBptVGJRK++mP1R5wIDoP4afZSWcCvI/oCfYUzziTas3KL6EguuTvB5YCP70lcoibKxPy9QJc2wafG+164XG+gK78glfep1li7fVXJyXiZ90Z1WTDVFH5jzAGpqYvWoWV3JkjxJWMKxQnZDYgj+7pmZwFxtF1FDFE6xJW06jhtCj+e951Bu/sOluVHf9nH4LrvK65SucsnWqjdJ4b4SRomE0QwNCyMWsJFqxnarR6MefdJo4zpjAqOT3pr5QyzVJU2KqZ22kkysr6kTascIf2kNvbxGkQEi8IeNAZXZuwpH2PBFrOi/PNc6z4hgcxMK+6Rhrt/Ps64LXgktq17Nb347noz3bIhdZ/qJT/MXvb+EsG8n4KMf/Hlj2mJF5PPwcVgP/XHWIbCMzmKZjQv/jiv1xnSjxelbcF7TEmdwetglfOSlNxrKM12effNyEIdxTjYN5Ti4uUe8R/eVW5ZgE84TXv7OA6FXLUZhikVuoBkN48nIPoHweaSkTGlr98O8rfQJxUc/4pbq+sPrT18nQ5t9zhyWecHZeowJCuKu8n7GepGrQQqRKU1c6HXcRMrrhvvnjTD1HAqFo0yv4FdzUXDAf4WuBWnmCgCtqotd2I9x4G4TxJfg9FHX9OffNaB/vxu5p4FFKHkIVvqZUrkbAKW4gVbnap02LwfYdWpCXRq8tHpYl7Ar+HsE8alkmOxcpbfx+lfssgAkZy+JKYh6XI8rSuRnqNfasRe2s2nZUAyglGAo4elSjfV3rloPU2xuWPWujquFdt3oQBmD3n6SChjlrFwUmx5gUuZMyOcHUcxcmnStQOKtUbg0Yhh8/fBHErvyNWMhOC9f6+PpGzyeMWyZitqfgBjkhg9tiNBS41ZKhMXgu1reEK/wvglzwdP2pJ1teVEDC57+I1e1Q1JJgR0IyMQbFscb6g1ES/tcmhRjiR6vZ0AbaukhGh0BenrxdtN0U+5ryWvjhmhsPgul6TA6u1gZUJj3ASsFlQrD0W9T3oVdFZgbikjV6/XK0cGhr8rpBa8Ge0lWYrTNhT2Obmv2nalIRLU93YWI2nhgtWY6qx/S7LpV7/fqQ/JruVveRnSj0FhbKxLpirmXeXbSnU0oLfVT+yJFWNg3OQ9hPD4C9MmCsDm0RaWthCrHYc+7LxcRXZsfhx30QZCT3apRDvN0xvSBQWsPEop5F1qruPYp3AyBlyKNxRFCweFjD+q61Ya29Aa3Gt7BUhPH/u0hmnhVB5KXm6JmOFc7pL/fMV+l0kKwK7Q6drEAKDT23CAkW/6YTcpswKkVFseuLwdXehIhmbEfMNk8CHDqk5x6f/cpql46X6rTlPHJSW5JqBOzfPL6FMlKAdNf+ytnMAjrY+1/cOpX2xuXnKZjHqXwBCZ/wTcQCGFb+bwL8smGsOJIp9bEKdEyHQZQ215FYI9OPrGwI7vGXao+2gyplknZQSNbDH7G259+1zYTRjtdlxqk5mP26GHN4LA07Kxw4ybtI9kxZW0DLBZE5ln4RPT9nVAlOEyh40QXX0X+78gEoQhZ44ofHBPUyufdxzOM0b8uumwoXfO0Wadc6Ps776oujrKwHOqsokL2o0/JjLpCjDC+OMXzJYjxN/9m4QbjWcFBSZ7oDicEpABn3y1zv1/KpyFSoPn5nqFgkd5BF67YKMJems/Y3aNmAe3TnxyntrSzmoPAP5fpS+3bFTAjVsVr2e/p08vRMJpwAdGz1pO51+1SXm9HTPxRBuveHpsiXw98w8+vy4P4VA0RTIYNwE7mmY8rmgoD09LMPdruGaaScZUILO/Kg8Mgp9kc27WJTbS7MTWJViTirdigJ8WM7joiH5V2Ly85XZj9J4xvshbksWzVbC6whZ74YJkboYKVLTD4S13nakxrgJ+CX3v+ftX5USLXM+U8byS7up+HeWxi0aA/QJaX2QUq5Tpt9YP/XKqHQS4W2AbvHtd9ddgDRci7nKfAIbZoOgoNQytQ7lpnJBmj3THCQIwI6/+I9RVla7nQL6iPZCeG/oLe+KilB6xX/YiZw7DtCDetPZ4ewSZHj93ziKfAEDJpCmkxIM3ZtLiEhAYrKYl0bb+2IhfsvNLvQ5hJ3dzZoestZHuKJwXqx5gag4ukbejetS8sE9w0CsPmHSdfBmx3VMsLMv1HpWMFF6YcEeB/FfI5IIspg20AJ4r9uKdhMFA48wxYdtDbtYleWVyqdHXU4AVA+lcCphsn4sIpl2EvLm1gL2qgMp8MHryAS8irINA1g4QNHnCjdcavQ2p1TCnxj49caZtq230pi095eYdwFLhPeCBdW0jDspGYqSNsY6316Pz0j5Ku4DVw1OSyLQyfFvp659UnixAsrNw88r9StWgLDhaoXYZ7Dp+3Md1ntE41oyqhTk2QkN0kD65DAuTY/8fbhYwlQsGmTKDSxLMbEYHopMDjBQdqpfClc/LJKZ71PwH1C5kbw4h0dWGPYHsLn5Pwy6wo7/wfZ9k9x920eNRkBNL48LfQX1lUqp6x3j65Ol3ckyn5qs6Ng1c1gg5CH/4dCr8ISrXnznMJOLQQgP7UzpQYsRWfZthy4PZzfEO7DoWsmI5x5r6s2I/xQf//lqUzJTr4ensAExyMTBJT0O5FFEZiE8QEv1If+9RULiaFIioG74xHhaXA43Q0Fxwqy8cGPacujSvO/y6EU9SwwzSBvwQE6uqAUl5xgXMkDQmB1r6DgC0JNPaJ94aqgV0rrCTGohC0FDv93XEQeCDW2jGWi5kPEFQrxicBskAbjxB6wD9ezXBsQ4cIKtJwCCJZyg+Lz7RW1V95wf3l7g/FN82VEJ+iH5J98Shto6IlkvwaIt4iIDP3CqMwAL1F4kB8s3dgXR+9x/ClpEqSC9iK5c1XZMltIeB7rip/6praZIJXl5MGbSSpeyhwGgE5431X0R2ekEXvvhQIg4ShnLUSyeaN7GGZrVpL4QqXWDf+m4aUAdKMVWP3BpyyJt5T6jvNrU8qfuyn/55jZV/jHg4vx8oRzagRYfbCnMsHtBTm6IDLZtoVq+LKfse1Cw5a7oY79/a50wsYD/rMYyeyNGGpD1l6nPMLdzhuMH1/QJ5wkjxzu5+oG4Pz512LV2gYm+Id7HEUgcOGdLR42Npuro67pPRzUMGnFdZSv71pq4rZ6j9haCvWtMN6qE/ZXx7JqwlhJKgrtGQfp/dmEzkS5IxRbh43IUw0ZuBVJHE7BrWeMFzaw5kMAelbVZSMdrvva0j/DPTDWW/pi66qvAlEiDHFATxlf3c8PlAVyyBKEHutctyFW9QL1ckT/h3gWubY1kASWHjrIzZXORb1wEXNbS/hrvlrsw/7hjbaz/njTYe18YrXMuOgHlT/K+5JjlWgNKnpOaAxi1RDYARy3vNylvWzpxj2wTT/m9SZDJ1dLcUZzfabMs929arrjJ3829kdLahF/pnMJamWkLbYP+B1fRwMTivftr5T9XxTZBgamrJ5xNRBCaHajEJN6v/s9kXAFcl8XiIgmaP5mZgmIAcVr6HkdAYYTt8U5TfugUNdgRBlpKwfGpKyilU2mVYR0z8Fwq8QmpPH/b4iUi4n2nhMjk+8g4Onf/3b99dIIYERQGQ0LCywURpwKii7LqRNPGNGI+IvrzVOoFHz5MeMUn1aZV2Aj4kJ7D+0ahPH9Vu5Vy4CMyM1Kl6WyjnH3pSw+k4OF0x1W+kQHeyXdiv+Y2qInVnkvXylRFcswbdRjTIUg0P5LHYlS9h9GjwWSoSjoxgtjKjmofRlBENblq5mT7IY2/WDNoeutDoLxLeWvokcgLRi/Qd+e3md2l2nw0/xi3frrVTONz8TN4nLUN8bdl/evQI8C2HcZk+ruQ53nFfAlpwH2QUy6efcj2UdRpzzZ2ahoeL3BtImDvkfQaXOElN/kkSp17av8Z0EvPADC6YO2B43Oin/gSda4rXZ319FMW8pxltb1NtrzgtZy9k3uhTRR4Qol6YWADvH2NqkdZ3XlshtnnyBk9++ALhIY0bB4fcMEZ3iyIBSUKZpWHP2LE5i6eE2x158NHmOPWoJX6DtacAzg+NVMoX4ZN80+Nt9CPsryP1eTetXZuC/8O5mPpQtshobN6XmjOBXnchXfrPRHrHGNTXKMPzVb6Fd5xBDgRebDNoc3KLekHfgRhbpXq60D6AN0YrN8BWE+K7TaXY3Swpw4XtKqLFv35TpsbXzfTgANdO161Zev/aMC818g+lMGY2Png9zjczHuNujLODfkRyZ/6oCUvTjCLxq5abF3P5pols6Xu6qRpBMNslnRnEpxteLw+vINoiULgjfswbkqhn2z5NXnJl6+kOJbv7UYarSnkN+QZgl6wtOT1d47VWGBaNcawRy4ZwNDzhgr2+rhtr4uICtDaGOkepHu2tXCBwxgWYjJfy76N801hygaEuvjCxL6wT3KRlZbp98CHlSdMeZ0NUPuqlttxCLuOprxeXwdWedRMASniiVHyyNjzw5VFoYogd0Yl2miMEty3YecY0GqLB7q360cja+4Tvf9tnNZandSdPipSiFx3Ly6Q7goXNmRRFKcMc0gr+kkEFG3d+5KnA7xGpllUSsTpQSLmOjcXoJc9BJ/MfO/F7iqGQhip0pA+yxIBHC+bnl7gDFYAOYQQ0I3hMwRfZWJYeC9kaX5uKCVc9RSnL5MKct3XUsM8+ozGdjGwxrgOAWWTux4XKfhOsrGdTgMyCKiLC1fPfzfBCKhxnONFAtoTbu2J5FT4DFM2poIU05yGyv2GoIDof1v/kKlnlxrVFO32Wc4WwYzZ6+F0g47DxyzsmjlrVhlcf5lFOc3qkjhf74GSt1CdFmj5OHn0XmsnB1Bdj5uYzCz4CBvbbmixj7rqgzd8GrfiLLmb0DdLjCMFS7V89ZQK6dUm5Wtis8Krz3BDFfiOnOdXYfERplyB7KPzv8A1GfzjqRp1Yjtz5R5pVxEmgRTKjBbQBD8lMZq5x72lV+JESj167LwzWk1CAf/OXPN8la2SAKeS75RzenTXFui2euoC0kbgbax1VJ0NczTyzFVE+OsdSKlkjYSND+RocRtQ+IVxi9DhWfu9aah+IvArJ0m62Dg3RgEszsLdSAegAsKDhfkE0CH//9ZtQDjBO4nGdsLR/1E5ezZwYWjaxiDTcgaxGxiGgVdWcF9MW1cBkGlYaYP7RutniNi46yUyze6G3szsn+Mc/SrdRlhxozxnqIGMop4q7gX1huck1T0rmJ3pMtJdexjXiIvczmhEo0Gtyoo0OwYpIq0uW8UmO9/6CLkGcIX0J9dgWx5aNS6gbUaiqPOB2NdHn/Aqbe75Z61CvapBWoXWrarUGubOntkYlKv1/kMawN05WGBupRrOj2vgf7BzQNU8mJJ/eIjsZLiwRi2py2EkDu3yXJ/A+oPGYhqPifCc8qcr5a0qFR4U/fLBlw7OdRuVAFpOXvizsL2ib1pUrGiJjK9eeB8yZ+eeVUAzB2/eKjylzJYd4MzORYtk3eI9NuaTJuConD4r3LwsIE0xbVLQ+WgMDR59iCJgMNuKqt6R293bg/UT85x5w+uEgmkeRRmDgNBYcOTgHaKhoojOyKdUSIYQqeX56s800pTGbb+CB683G0Ew2KAbSSWofUVRhKdkl10fcC2wGGzGCWfsGAPeQvHVH8QIcpk0BTH6DNAgs4SbWyfNSVFfzJwyEGWnu4G6dSWwpT02U6MjkwoulqoGos+v/eoN7YmmJ62nLuUaHhgsgvzwzpVsLu2JpSwZEw4Z1Fh0GAyFxDVRpAJBVha6lPJ5TfEdStzz4wDtGTaQNv+Ag3CRC568bBRSIvOKS6UBWIDBWBoeydOXumr9QllCriBdj8hzMhSkZKyXBvvOgROEWQ+mhtMU5bwxz+eKKCvLPOA9mNPQGljjtgJC1GF8KRvsUAa4sAGnV5fOCJBCAnewVG0Ai4bqI756pAao25v1ZXmm+RRtyVMpvqMrryYHPTwkla/AKW/2BbetXevduDh5fmlnpbwuI2fpssfniqeefJ87Q48cDK09GhHmLeG59dkv/fo9q0hQNW3Q55G0klUQ/9HiRe+/3jqwjt1YDKJZ68OiXVswKID63V7tliyhvWqqNAFQ08NV0U5lHgtxXr8HWaAOzoW/lUrWpcU66Vc7FUDMvx8+HlsxHFXLeMXZz+j/jkx1FX/F499YL/XV0BU/Pr9Y3j5F+QTE2zqnGBHpkTh3z5xbqlSyQmSeO5NLTUAzOVmJAxCev3hl5TxSueMyBBYWMHnb0wP1WsAFLGCCxa8rjhTE7ung2CoL3Cg3k7YMZShG2NGh+LIZr0FAjy36a4owQp6nMoE7ETzZ8ullXm2PrO457YxUsHzY997WofJV0SeyS9h0wxWYcpJa5xFOMH2wtyiAvwsj57+5klTxKDCtZoki0N/OXJNeP5h5PzP6Z6EBc9uheV4ho41W0qVZyQY8XBfQtW/nLOfOJjadVZFydfxCgTZwF9oMiTcLSkweHW6MT0wBzkvLwwD9vgw9LgSthrJTSqoDy+khz718pK1PPwF8vjVVcvOnLmc2eQM+8S6/72cSbKV9eqj8t90KOxV59US86lqiKKKscn86SR00rpSBrMSFrvxof0DBFhk63DMwwZsrtrZf7KsOLJ3Q5rlHVE4Qg/iTnj7Lkz14G0WuA38iMb4XVL1Jqr/NN3huV6Ftu5x5j50uqOmE3owqOil049J5Jnei7DsxseOEWdmm6pie5RRIuAzMb7LLsmH9ld0OHZlmhn2C/BcsnT+quQCNltCxO2kqgSGVPKf4dXYUp6zR6gbtjF/o+ehWMfExkCpLQ+YmsRspmCbHHgjE01CBilfU7MXp4f+87JxEDowjX8GqtwZGVGMOyj0hb3F0Tlb/WQAyqfTwIBQqw/eQ1Rt7+/sgZwMBlS0pyf6iWS1yZERV57SIYhweiJzMiw6UbJ0ttXu65+t2SpUHP1y26HCMYUyozWGoEHf5LIM+Xtf1sFMK33bepMvKgzSunEFbP0lnYXwT1N26jqkSQv5c7Ddw7b6NxS7qWSh98kEX2zo98iCv0JKOi5RMT/UVwQPXWXzL5UxYUgk1iM3zfD22zuA2JGDbqziekYfMOp8RzUAXwEi95vW74TUO0sQOYsKXxWhnZKvHnxjXQrOGsaCj2KIQ6C22Vs4jzwNF4ubkrWtARkpwVS36iFINHBPq7up5GOL9DTczrGHjZ0hZ2vkqcaicy9z0Xc1BIba3GT94k4bHZ6odNMQQhKOLIZZLPQVIv1Ir7pfhN7Z9Frfq0MNqlzBRufwyQabwwI6CdhSE+JjONvzykSuBChyc+OOeWQJmBdH4dKsuZnIt8mtvQkFBCSubjNxmILWBL/FzhLx2jCQdyBRetMxtWKHY8LtGaPJsPrYf/z/fpAcMNgMp/dT2xW2RB+si+5iQsZxj7gCuXhf4naJZtxY+K+A5O0O4THVhAMl8oULogeRYSDIxt9GJs71gAWl00CAdQqY1vvGAZzhWq1NWWTXeeYAcneY0YX11ngS9UvswDDlKwKHxmi89rD2+qqyAb5e1j8OOhjIVs7CbA4gztoY3pSMEOoFWOJXmqNqSQrd6sblpaFf/hu3zyNrT6VlhYoe+n0xwJQZZH5bmQTt4H8Vb/Rme2Yk82ogkd8hCGazu9eQG4nQtf7WVyUyyk2unr2D561rfjj4qmsx+mhQScNoFPLyMKIYvVbD8hQbw3U8hVQlPCpMSEWfoyGuDnDbvXvj66YDAbMS1IbD2N/Y5x/IH3KdWbHBwY3wFFFhBLLNxsXn9veHReKg0J1Upr3Bt6fXR06cTwX/QGXFEc6WsPKnrsk8HEJAugx5CC2/Xwy2U26mJKpjU4QV1iPFbFeXu3FuaHfQYbJkjpbJiUTKBKeJUOpqsYfuaLDg0DzT7Ks3RdomLal6KowUL13FrPT2+wXp0w8xdhX1YYqQtrGQXUoHv2PcGTzWVYy+HPsOna/ezvf0pnUX51j2ELcVTP4ozORbuEAebgv90dEGOxNFDtKN6ipUiEV7kGJFU5sNVK7y5l615BErIHTDoCjqAsR9AY9nwAAtJ+lvj/kx/ARqh1xHsfUAKF4VQ1JueqdsD5FHJs1X6UehmdGT66HxGAx5IZU6uU3KcB6KWEJnWDWruXv9vN+BM0LzOw64/DDvaBrZrbfiKlVgJOkv6j35phcpIV9RMWx2Z6UUaHpFyFoM2PIVk+ZJOjo5+rpJj+foSMIOBAB6i+FWWELhIDFN1JRfKNm5DvDy0CEx0bhBwoZKY1RfelAwqbJSXE4OcaBYMugYJY6/KiWQ8K8ongP0l3RHnSznY8StCE6XRCWzOb6+JghPWP1/uXseIBCu4ELa/tn+2P+peKS7+mL/xCBAMBaNWdVJToawL+l13DI1VBbPph4KEOfcvoVFC7olkj2BuaFBgxhXqeCUBkjJHTMxRB5C0olX3ldxPjUGG01OGL2uD2+S5TWLKeGQL2+K6vUewOJZ44KIIHAfZ85GWIC0a6QsAJtXvwLEXJ1xIa0ZK4sprqwLmT3zx+wyTKdqLtcy6eOf8kqqx+mGWsNS0zNAh+u6zq8sIRMLh8uQ6lzSPNhkZXZdEow3o3ZOlkzRxkY3pYb2O+CA7nq5YYVdRavG6yKfGdJ03i/2/z6zbZqgH5Ack2DbbRTHiXN2Tqz9pB/92aue+W47BDww5Rt/FD8AImLPyCEwRV+e+FoJ4UVLlRASaMog4VkenEeM6NooX7X2oV0T/NZLGF48uI/SuTC9HbNX1NBKKTmjVppDNfM0r5g13u06iThHoWKOBioHayWO5sB+0DaZli8ZIP+/Upw/i0B6Zv4KiZUZGlvIW71CsCgb5qohT5X+UGtNimtGccfIhChaH52Z7bNXDMcvMMFotBoop0YM5WrYqbIZopjZM68oXc3mktTbjzf4dCsQmlFjmzwEvXuo1RrBwblq6yWoIoT86jtMjNkUrM9lrWK/AdEC0pjAduHb4DgxzfmqtQXIiYHCR0NDPW2kBYVqcANUqDcOKzUYoQvMBf+Aid05Y1iZrN2UPCVs5BhUhey77CSiqhJRdmU5IJEebB6/KWMQVnlsD3aW7y7mMEumAB+gZqWbegatM0IvK9rJH038/KrfvTdXgWTZXT7lcEaN2KsiLAWOUaLhAPKP9dEuWx+4JlH6tYw7Vx+vT6jZBrQq/fvdGCKIjxx9LpVq+6v+dRMEAw9BvOzSGuvEXJ1TE6JUGUIJb6u05qrEWqgHozd3fuUC6ZHvxPSdTGcBZl4+NHO6khY8bfr2Usq5g3Vh3BAAVMVAzHSTzgJc6XALV4BjkVatIdyiaUSWu1v4P4PUyaGjG9v9IvKMdVPRBxWgxzfDUJQvWoeuTfxMa9AKICiKRlmBL3uGKrmRHPxvbG9qnUg3UuMsLtU46XUJh4xvq8GqBZc2+oDefER247/D1qD7Mfigz8e5UmLppCo14f0vvz+kRgQpVcjntIvHkvYdqECzB/PrjGFLDLX1H1ZpOuwBregL/qteKYRNNW/IadzyaM9FUhdpNnANvh6Pqr2hOrcMRef929LARv/Z4rZu1OteGrF82sR5O0bLRa+VuFdfSF2mge2fS/l/W6x4I8rY2ErfQSsmnyvZBWt+rHGJRyX8vNAzvw3kx80yM5Lq+BRLrWvZJ9t8EWGdNTe4myXiE54ac5ZzhlfUIs1I/hIiabvbb8G9RmCcp4Zu5HZ8AWOIZTArLw3Vb2SrjGPFI8M/vgCV4UcbDI5hG4bQebWzOjdszaJatoDbsq2Qw30Ermc1tpibbrOWywmT00720A0sQmr0VkyQT6c+G139A43dl1/8UZvBYgZ431KxtrnmBG/TgPzFabdQjXGnZVYu+KmEtV/JyZYlXeJGR4+SvBcLL83dPoYB6SsB4sHP4n0OmFDwriyxldCI7GHjv3zdO4aCT9WpzKTQJt4Guuh1n8ULLabNlLv4X2MfRYz4i49a7W/hgh66e+oyy8ZgiqcjhHxECpRvsxr1qeHdqUFD3XAkUAtEjGBnWKdAxvOBihu8jwgbiTF+TwKCv//F/t+laliz/cInj5iowJVumQK3t9fFCIZGBcqkSqId79A34EFJPlXW/wp+XAV2X8fveU0yhy1ZsTkML+8WhkEq5MTpMZbMLpIlU5TI9W6RVSroTwupVc2NlXq7BmGaIhIgtow1SZRF8dpU2EQGwUXWWbxyWHDcQnhaDtubeJ6HfG+KLTk+O0nOZgkGD43JyH3HQp5xRc1Eva2i07NzIwLyo2IAVBcEBGfOiZwkAsG1fnfj2C8uBxsNUM3oT+eOU3VVEQVNY4QbZzdNi1369puJEvh0GxJYU2yAAEUapbq6te2TMmbv+BO4YkjFVzNwvccapw8aKhgVUMB65tmvzDBYCnaQPlW6+qxzYuY0ZTDLyzMxNqqgwID+9czM0ytpN5VcZwplppS6OI/7w/AFFRjedHIDpooH/+Q9Mub6tHaaTCFt2QyIX6RafvCGIAeZt7FiVQKJXIJYw6iSldygV5Eaa2nUAnM00Z3aGJdT+Rvye16ymUkDM+Yrd2lrX67VGWZL0mIo33RijCUmG8Z2sJk33P/iAsrTPgulq+YYIZFoRjte4ibYEhZ5BazoETjH5qLnvIDREv6Ait1sz6VRjeNhuOeoPDilWMWODnHGWWgGfK0SEeT7ha2XMghpCy9akVPzsv1Otn9GspprUG4ghHOh0LjN6u/DjOhhgNwZSAVrs71C2H9XASoC+tFN7s62Bys46R2cEC5evbSYSvr0ya8qsmrPOhQswxmF3ENfo4hl2pZAfIuDz0in5sWcdDXxWPXRpfBss6BIxdtXTSOSvER8qdl5GkciZxu4P4ydp9As7efFUk6harWsRzMVFRu1L4TVogbcw0LJc/i1Blwq8w5n8ZW3DB4AnT3A8MT15e7vVX1dxoC1wRI1NbxupaAy/MM2/+Umz85f2f0NAdOArEk0wYFb8d0b60eUdPMarUC8r/Byp4ybtO4DOo84K51sifpUEfNkPYTTZt1XziXBTOjm/hEcx4O/PLLqEl8Z4B9cD9LuP5ykdGH8ckYDv4DsKhNhCHEMYE5srJwmjS271XVzXDJAV9l6wVYVf56LKhoCmokVFZ4upb24F2uZYdcGSJozVlUDx3a9r5drIpHdMUAGCtaavQnfy1BRFte3QJlSZJIy2+XK65UCNBS2x9X6HOLEmEeFL7o0/zF3K1WJH5nZARAi8GpeQwCx0eaJChtqkheftyY8mQ6uinQOREnzZ7ua+vcjFlHDXvvWnxnGDDI/KwnEFWVHepsWf3MGj8SIBVU3G16rlKqUzeD856r8MI0vKORA7AQk283jlBP/SNwSAeqq5QeuRr1Tes6AnFHSCLYQU67FTY3QsBsRsUYvCacFOD9y5yJML7O+NS0AnUb+R+XW0m8Y960U3za3FXccb5ygShc4al1HrQVvYeGwTDZr4tvYyP0QqH2Td1Mo4QuvMUkisfkKt588gzaNeTnTE4ZhFys0wDrwK+DShS7eTwg1XyCYbHunzP/HK8NDwtIgHJsI8o2+ttk8WzSbUi/ZtJKgSZ3TbtntA8BB6PINIqMY8V/U2ZeV1IE/ESpTfdrFCIKBXoMXRJnF4IV32H49Bt9UvkMybeWNV5dAHF80BqorMsHxE2JmxwBwPqHn9tIDS/xfxZ3OGJUSVlgph4NfNItwtEkbP4Xbwib+JvDhVifVwWN/cwgc9xN3dMB8BPsfHM1JtkuSgdQZxi46aLfEt+VzgTOiOjyRhNTt0vWr6xDe2kv++Ctw9CYN/ScPs1aJrdx0XVT5NwSVygp6rpmyNCG+8nF5aq/uj7EUqmJByNkH+4AZQpfifNz5ejJbO4lqlTTB3vDoPEM205bizp+r2Ne5jN6lGUfiaGYeD3G075IgmeUUoIqcUzb5TG0g/IJvBhtbD4xf8Rdqy8/hRhL27AcbfIlKkKluN4gRjpLeqdvDa0+gNrqSC7VC3icaEodzryqS7Hc1HxPIpU86lLeImgiZNAqQC1jQj36bxNDXzfZipN63j/TGfDTPijymikCsth/KdcEn62Cs6aCt3nsoawjYL84Jx2rWIm/Abk/inmnA44GajDaFZ4pWo8ZYJFwwzCXuIyuGF9enfgQg9Ol//UJ+s7Dm7+td18MsaFBgoa0o7ozDxLSJHcvHsPnKR746HdV9GD+7IIrC4I5sAdoYols7lxn7b2zfaPhaxQGLjf1FjKjKn47Rkn8vZKQIqA5MBOE3PuEQ4yrmfBCIQUSXXu5BwuGVCE4zTIzW8PZJtBF7aouSxv50DOLylYhUEnvfXzmw2c5FbKJVR1u2dYS4qNUDMHuN/YFu6uZ4Gc7852jQmv4KSGxPL259HOAkzKSY4Fms16hQlle2PSSRcnRFGj/9bBh2N2SDrejRW7H5inJBQObpw+G6qJAU2qbNwg+Gh1EtfybaSjufkOwjog+3MAY9QlxkAb8hyp0Bmg4r5DkunZkDlclCfsHJkZnakl+E7U5zQ2tk3a1PFYkGQ829NZnwg1QZ8NKmwxP0A/8Hctwv3vgyw90bos26ubtyVdJMRFGCjRvLSN/WskP6uu1gLZAPcYR8W601AA3EXhcsve3o5RqX+qZRjjLBGQGObkoks7E8y8wciMi6Up0pApQssOvdsAGWzmC7OXXqpfIPBRQ2jDsqgEmm1T4J+qj0E4Skl2jmbMbserrhLXGJ2r49+aGiaCxcNg4STxkHQEDvlvJpQDqafn95AT5NyxAcnIdTwoO5F8voGhImi8yorjL2VOk3OIIEYJmsjSvqMS9cR0bZTKcMcpJx6YU6f8VjCPMRgNQSnWQlnL5Tus3YAkoGvjOqY+ruK9EccPmEGOFWMatIF1m1qEg2/7fqDXfnUpYhNR1Cx3teaGMH8j/St1unlHEcwpKRpTHA6nwU5vJPo8i5g1Ouymy7VRkSpUR9EOF3I7Qky7GqIJdxc9pCCDk5EBLqmK3K6BQeZLoUByCuX4/SP/D7fRz9PhJen1+qAwDHjJuzjBGXI5ScvHVDl03HUL8GVsSBaqDETBHzPOFNMQlfGa93IosikRfnLmOsZIpNlIxbBdfdpl4QmNhTQCMuG8tSV9nQqulsmh7udUFyp2xdj2JTUX/V8J/wrhP1smrmR7p0ExC1WZ6RHiMywaB2O4lz5Rg7Y136c9AAKZteJIunOfzqnvLB9kk4rLlBCq1NAEZTQqBy7qxIWmz8M8uUjVA5hjUtlgl+N2Dzlgpaugh79idbQgHwDgWPPwr2N0gnPJgCAf/wEQ130OiVoBBC8xupUjTD21IW1tPK9f9dL9IX2QNGXZc2Qb2/NWaYc37MFRyZWNymnrrzl531IDdt0irG4n6BdhquS0gGpeY1cRo6v3VScX1zN1FI/wIQhUG2nHOtBOJeB6xFH8mcTv4K401vfpjZ6owarwQU2jSm3+WVg5Kty976xtnfz1TGXdGx0IKVFZy1jIJdFwHdYdHQchN4nntaoxaF5/Ua89+rcswR0HTj4dOEda7dTokK3uZpeBYxkVJChvdnoPqlUYm1Wp9O4zUhWuNp/UjRkgPtUcGeNg2JTwCNwQ6ZhA57/1w/XBa4L+IvKo7sL9y8TVwKKIIfedalXxZXuzFF60VR0ODCnxpNz4DZJlRPX5UuHf8kBGLdJWvNCcEdFUO53skoRqbUPVYGpEF5l7XtEsObkzYLqZajjgnTYVP3QbPVMwQ0sN8M4/xDHPd8x4J7Ywnnwp/eUtpiXBUWfbR6Apwm4nCd5uZxQFf3e/SfWnXxgq4hAwtmqEgOIWmlRO2ANP4OP/yACfZFoHr1lub4vyJEI64shhWenmlWv8MRF+cvmN3nGx9oiu9lA15KdW4RYRWIRtn8OwMFtu6kf/DHdx/6fNMHn4PNHzkvoYi/AqjBFXdKVlPmjzpT+WwXbwq+0hAcRjIo2UhNuE76NkYNFwl0cEo+3Z/C+NeqV0hzv6XAAmpBQcU648W0wUz61Rf1raJ8C3yO0vgFe7XpQn2iTy4Ro16hl4rx0xQOIlKAugBtAkFCy7GjhYOewdvmFa+TJpr4MJcUwzpOgyvua5lS7P6LsSL9hnL4ZhwenVzPE/V1zL1WuURPAxj8jx8Fudt6xNU0NGepmEi6EEpgMBaR/JbdBZtURLahDoxo7r4Xt3MVxwM3N0NkKRUA717IEbkL/desc2H51Z51d8+CiJ9+SDnJ7zZK17yanzum/j4u44l6xoDh5o4r7VI9SAZN/UKyyntnwtxkaojPMhXI9KCk0ovDw/NWkxAq18nlSkuJGbx+SnOkaG5KPgHRvkjpwpe5rvct9OePyvX6H/WfvuWF26mUsh7+JEoQfeu6eRE78O1YhwU/fxyyirURMak4eIZP0xu6r61dysdaXpVMyGTTT2UP5Q33wGZfKtpV5MXJWDpSbC8EIJCpIfJSMk9GcCF551IDIMu41BVX6tD5cz9hf6SMNtjFKWbIn6LVmL/1xcbiwWbB0SvVrpKEzFJ2EaIN++fAadCBdEMBdDeFVZBlJK8QXFrD6dpa449yJsqPbtaq/AGsAoXclafrgwKqawEzHgY1hzA+DlMw+mCc6ykh95NqDQO/0/SVXp45p5zdGT4ZO1Ec0cVgF0Bn2pKOidfrJozzHzpPhGoeQah8elyOwMg5t4WUk7cq5sGjVdsHeP+QzK8pzX7BoIOg3fUjwFdFGhxqRuRC51Z/fA43QezATwzajKF0+9q9nOEZUOxDXVcKb8tgnkNayVkBGN5rmfRDnqp5v+czAC66FZVuDq5zbcoS0l7VoCvb8nDB+gKN0YfnTH/8yiXdQuxOfj1ouCGsd3lssWE98CytdGgWLOWTp5PjVaTD+Mo33SFocLzxB4V1msMgTt9dxT03YK7xyH/WdHjA34p+XCK9mur1z5kiECzKZc8kMmOKx9AWeXmImJ3eyXXx9N7tyFl56v+KgSbHMdt9Sxb8wqtUQ3YeBhgDKuanhvYjH2vgrWyQNlTYopqzadk/qUgg+Fa1rosEFN1v3Tec6s1O7SDbh+7fIppXOHPqWyRH3F9h0QiKlchrVPR1ej7rqhQnIwRmhWcDkk7Sdk4EYYKEOxFRYb2mlTWMEFAzmKLQZn4yTmSTFF7pTkjUpAc/j+zZJ7v0oI4zUDqSiIuNfSUjL8dXw62sYt6UJSyXWEg98OLl9gmTFuZEMlUp01/L/n4lBlV0FQEKM03UE6R9T23Zfb6Juq6oR1uJpVhHAuTPVF/IyTLyJTFwpgSqAISSpHzwp8LRCydO7M16cMP5VluI77gHu9XRTgHnWlLUQnSjr5f0npFZd5zfpP7EXPHfZ76F+KNh6aQQ9cCRlXV/53V++zN8jABtHPtEV/UgsBT/QHD8/VqDXzY4lrE+oSNvlGwnk+ZuVQtVA3P1pfoqZ7iX3UsARJN4Kem0LvxgxpThCdI93RYW592Rpj6H06TpdpVSs9yPA6BPfn7z7+80wLhG0Fo+8ZhevTVrf19tgw4pVMa4JgifW7CPfOAKW10fkgkeS3ZeFmwKh9DRm/ZbncKmJPd34qDbkAYFVmDSGlTErSIh5z+2bBturBHlrcP0naW8zdqgARYIN62+P4z903T2Lh5HkEIY5ZMCW0yHukbw9yykcIY7Yp7dGPUOMhrNfed69d0KIu9mZicgUNAAUbs2m17wDIGywdVOGS/ZKY1HexxYOuBw3sVGec5n9lLuFiezSIhYwSW44PvHv47Q+sEKS15l+2J8XrNuqw9TVxQ/vEjROd2G105EbhumO+agcjGX6UpXqqagELKGT27LBeTpIX0TKs6u9DCHA/agOwZkVL9HskSmkcsg98RDJJSqepx63dx0a7DEHXeUnMg987K9h9Td2aMMYMEtCyJA5dk+UrapetPSz/C2n23EBb3uvNFcV2uw3YmyfH+IBPJefnY8gtWfa2Wy69BRQdpasaSVWCb+pVoE36HH3nXm7mImBr5lNZqQ6oJ3mQRSuYXTHOnpMf49miHRPf7PfDjE/9kuSv6MCVUp2ii6p0aZsKesYu+x9Liwhma1bn5sCVZVf+Vlv3/sn5WQ7A2vhCfTyuagsJKkSbydi+pVl+eXxE0YjAdRpgM/ofG3rTuJ+9FM7DNuWN5nIckax7AFxI33CYWCFgbYVG5LNqvd2VHDcQCg+nfFKOzyDboEfJG07o+LGc+0DnfL3rRP1ppDBp/YmAOq5bmLgPrKj9ZHLxb3S1gMdP2DIehvKhkr55JOMz7yOs/kl6pGZOxWNQxOO3XLtLdPt/TtThYdfn83+GcsASRZMyFaCFiVuW2D6iQFcus9/wweoYkX6jin6OQSS3iIEujBGn6eJybQB0wHm2h8G6cKkmI1OZyDqBaV74NRbq/ZAUXs1ucvYEgLLoq+3tRkbpZi28cTARZKDI4xOAtjWNcptZr/BX0qJDpicvNdub1udWSnKqfzftPNQW1TnGQkVvkHrxOhzpJmgJzZooZJnoch4+o86d0WMvkQqHF4LWOOvtDnZGKYHE3rqi52CCDKgIRQPKG5dTeFEeEHxYOLvnZpeA8xO9RZsLIT/xM+RjtjgGnuFTPkCfATO++Tw+LIl747k602poEFjsYREdmsB7aPKFCv2OJ6/Z/7d0HaAmgiSeXGna4ci6ucJUoGnpEtnczD5SP6x9kPitQuCyg7LrO2Qffl6KKC2xhEg7TQz1CNauLiSE9IILA4YZXO50rIxjkeOple7dop7gNSjPe36cOI3TsQzXfJrSEFUpOszmhY4ssJiKGxz4/yfVEKs942aGED3LcBBBI2XdMP8lQ5VPho8onPcWO6rx5EMNQFeHT9P5ileQPOFRJ/WYQJmeCP15h2+Dw6Aw9QiYCf74a1dx0jx6wfe2vF1CUNSBBRn+pEESNZFDivh5vKQpzpr4F9VF85tfvUBEHRYMHTDHmU/yWCFsYdoxd0xbt8BOfbwmIVYEeM6ct6yNJ1LonsqpOQsUL9G1WtNjPpwTnkeDdYrLtwi1g9rS6fNtNhOxfJHUicIMUZPn/LKtV8SJhz+xXtkd7USz2DKfnr38YIqjk7NS4oR7UrEysv6srOecSF2bdrPWXvCAbRQviO139LbctGQSFJs5hVz4TgL8ofJJkbhNAJ4XcSsMI1N1RBwjskQ1Vv1uQRMM3ZA73a4c9Dv7VEubDajle/s8vI18IQ+HYB3uhBkgAHlLqm2+w+jMUoON3G+JqjgA5uqtBNJn7Pu66dBu/KaApQhELMu6YVB/5bf19JXJxr2+1TP5CLg8hwh2EDW6ImUi8iuHSldarVcJNOlkQJUA4dqV7pfF6OKAuC1NsUivwvq2i4C0HGd2VfWudslasDQAlRVxVarnyETgJs2LzDIbhnnTlht9Lm47DiLemgQ1ipuPD6Bo64YlnXQzym1iM6nmFhwi6uBPZjn6fgShSPN17AoxBQiY+CpF0w/qTp6c8H9ki/hJ+RKnBJy/g2RgcrtPMoAg1duOR0NFsbpdlbhu20Yk/tFYsQsr8s1rDDX2/hb4zHDTXTXr4lX6I+s1EtT/uA5rVPbmydZiDNEOukfZRGBbzY0+kM1raam3+4vUDpv+0gE9/iQHNVXlO/Rws38IWrxyNqXkiVntxKK85NCagWCvt8mf9uFSoFWIG+usX/ymac7he5v+llxMYycXOm7p/vu7KA2Cl6p2OokxLWl5hz+9wYYFRNAvc7yjWB3gOcgUvVQ7MRvXCOhUL2tMWkSXi9LSc2RxnUPmcYidqQdfRt5RdH11FBvru67QHmWok9XRbvEbPI8bneDgKk85tEMfI+qh6z5UaPs/PS7jekXooC6thVvD9pbLzlILzgvfygH5CSQnizHH3yIy7Uy1S6yYudtg6/dEoAESSswRaTMbcCq1SykFqnqVBav+uY+0HD/6HJk1xtfIZ7JuDUqcJ/rQjqs9oY9DYPC+FSqhjec/TXIg13RgfYs+LYtKBxcJEntsDF5pdWyZNLaKglBf43tOWBzby7OSM1qt6YHyZ4F3cDSUxpgQrqRxB1a+Se/h+h1FoF2S5s7jtEkQS9QNQekIatQQxvh4QV5GT7QZKAhwZkpbXqIHoH9yG4qnBf8Er+Z78fjHUabRGZ4Vj7v3A/lQqV6MYe2fnoxYj9jJ3//MzDo+OTXmJJ9bJzh+8AAfj5mL3yCENxvl70jRezik9J/mBsNFpMKtZ3E3FWhS8KDr52S9FqZVBL2YU1auuzqIA5+zaDhh7YsRfCQ8Mj+UUMcJjIhqs7A0hoGoFiXwaDjrw7wgSfpi/40ZyntYpVSeyiLomFQORPST0YUN8wk6Da6b4aFCFC9lg3BOe3biGhM6FXn2jPROrnGaO4deBUGInlIWSfxgUx6QbGoKZrk238JwHPJlW9DVKRzJzozb6baC4wO4e3lFO/cr3UgrCJoJi71aAyFpk+h2AhpUle01Wrg0ds++jhBYlXiP/VK9R35B61jmIVPANmrYMk1sDFo0A7nsHrnHaA2ebSjUOddC/LORB299Ds90CB5Dnrlw/KH8qpi1sLxdSbV3HKosmsJ22rNXIOv1bUjKe9VPWSHXS0OIxE5XJ59zQNo9C8mkQGy3KbPh5P6N729x/YU5IKwEFhQt1BCdIU9WgDAwCOY1NahA9Qpo0p532DFnQA9wdM/cqfaq8GCBjtLoZE2bkaawgoVbjfJwkMWNwX7dVEJr3qlP7krHJLeyZBco82UKJBebvKunXm4yqI71wwsZIBEjW49BeMSmcIhr2Q9AisbcUf8kB2zosU5g4JWNh/z8EgEMB/ghzSsYsQDMddBLEVetEs0zWapAtlShPS9KDmKCtCYdKRJhqcskGuWfR6ec8fG/aBWLeHsk09MOHP2tLHD2zpQ96VinlOMUhuUMrJtvXdkH/YGYHBV1GoIKoS7/73ypa/vyTTV/Wl9HwRtk/wiS7u8X3BqiNBiukusKwX0PkwqCUc70pkDbz7jyd7oZHeD1eBQEW5eDDbNqsb1F8UPgaRmiODpOoRwFHrFO+k6KDs8YuZDpk1ozF7xR9sG5AkwdUugmSFLZvOuTYAh67oD1/qelAsRb4LvcHzK9xreHFEBxaPc6T9eGEo/jPQShJrbF6CSJVVNOSd1+7CxtMuNA1uRRYlRayG+1xpRnxEo+uUK8WgQTMuS1dx4m+yfKwMP+TT8ApnPaUi5Vp6d16uRUzDG6J9hS0ReoQjlh+obnM2Dw9FznfOs+Xulum8tTkkL3PK+MODSRYxc/SNNxNLWBIBHQ2W9aFp3DyMVAljcOS/v+2n/h10CB71noZyakyP7BisguNEOhIo1jyVuOZHVjear+1iAzr3CDGIp86ytH+77hFfaytyil8s9p2gJ3JJliZM6QKub4ZvzNzZC0vX2j8lhHZCOkPfXY/2RflyXlNbLmoAQ80Viml4JH1j0XntxfveKDJ1D6+aHQCb5DZLH9NbZE7CSv2LxXxXT8H79Lrd1dV3754I5Vqi31sknqxkIX5FsVP6z4z4Gk3Xr5r+0RZGexXQWXl4VdbJttXVMZNSuz0Dcac0PgEZbgcaoX44WPXUPesJMHWp465Tw9uJyYUgYy0hK8E06zcPfNMYWzjViN23MP+vMZDOr18kqflqeEn2IucLlZjoIzmXQti+OzMSKj27PcQjXWSxNzeyCq9QD1O+onnz3cMxwHdPo/TjtgQ8DJgo+byt5/8w/hp6zSNO6S0Gf9ykA6J7Tn5NroaSosH5GFB18Osck3OisKONSegSfzUDJZgpfRYNBE3s5TxF9SL5yrTS8VSun0RFM87lP9beOMlf29LStjh+t1kqehmDaVgVrE5/DxGQhp9/+za3g2OXm+t1Cpxtrl6vXg5TRWhTrHcaFjGjjjKYSS6xpke/yT2Wk2eslu3G3qGZmxpW4V77xdjfrQahJts9d7xWsLJ8FByZsf76/ILmrHarsgfB9IJF6VA6EVv87JkHa1WTrSBZkeKcx9xblYO2Fle+5/IW42s48kMc4hXArENvnDHFvJlEKYHHFUuJhJzL9dJUhmX92SypWKRlj/SX5TeyinOKxp/ijyDZLHczdpubU5KkzdOCSiz+dureuf7M9AZIvzTpodF27lg54gLDqlsmCv9Ja9GvNfl4dzi0mIb0aI2Lw/a5FeEMmn17QXsmv0qNg5vGxhxuGlQSwp/ZwiNX7pGKHG3+dvzWnxACtr1scviCaSBzJZql0hzMnFy7TOInxFOmTKjHH9LheQsiIFZVi645Z7SATKwaE2s0+r9UuwkqOyd5KWP9JhFsQMhz7itnrR7QuLa6GAB0xU2pJw886dV5vNCR2FBM8XxWPsTuOSrq+uhjNge7OgPToDEdlSZMb3SrgoFs0LQND1dKUNuS+AyEFSp4X3PE2IBfG67+vrVurJ9mY5lvwyTOvbxYqbCVsTrAvTvTdofb43BPAm+aM32ZuIGNh4vd66VAwaIJ+37GqQgk6AHYVlevfQDLmMB5fCvnlrKz2ihO1Fpi5s5/62PfK8usGbrT8aftuo3Dpsr7e6jVMFnXZ1IZyqYbUAODJJ+EKiMmsMLeOo4LReDcvuVclOU/wtl6vFNIYcqpAwt/muJBKjWCgdyhE/mo0BibC3+8BjNr7dKILbv/sbHEXl5ZeTNdc+HXqCa9gkfEiEcLWcf0YxkgjAYTaI4oH0CRNrA7zO/gPfD+tGUdWvlQQnv5xFsoCOl9whfNpXNYYL4mRCHOcHRCrzLsQWC5BpUzmd3ako1JDM6ao5yGpMhM5+hlQ5yDMYuWmRg7N5l7ZOMiHuwkChQgAn6eAogouaiOW0ZU/kBXM2+y0G/0lzGtN/0RblcEn4/ikOJ2XOjAIszdHhbBhTDfbcLzNnEdt1W2hvWt75ICIIYeSctdc7083ntVBOwg63VODaBEYQtjlxdT9tFgo7jOt83U7GDMfUijHN6DcgQX3/ovxYe8UDd+uPrPngGC3hBh+YJbHL6sErhRfsbAmvalm4NKn0qnvBKvs1l7DCWG0Eh4TTnv685W6weRNySQCMrCK3EjXFtxiqZO9wq+Ak0ZtDW+ilEqYxzV2xUjReGGfH7veCE/7HGLLhInTt4ZlU8bhi+aT9UTaUcWnFaJDET51/Oh9MRzrkHB4W6ly9XUSLfSuFn9JyA3Ry4Ff/pJEQWjfR6hVZWthCL5mVeYGnTiwpS1I4nStPiEOqTzPMgkoupUSI2zsvR5zea/dOdK52X7Y23QQisqzXgzJGbDZSzTOMiT5LuRpUZx1sskrH/ZUIdPe4WtCAr1eeKUYNpOrHKLcX8zO+Lvic/hX0fQy/OibM2YynlN/yTEbr+8prS29hLKATNLV+HbLz8tEfG+NuYZ7MgMmewoIa+gDDFWOdu7oOGd9GL3Qmo1TgEDZG1NfAFmLyHmXDfCRVWdd0pJHYsxwLerdfwUBBBlZ/oG7I/z1btFpPYtR3/czKAJZdCGX5i/hxA5s02ITxW03ZoDrrGJk8rlrFII6js2smD84lAFAPZmRQHhSdPhA/ROQ82IdTw83kVNQgsDSzHOovW41RCVTzbPpWw7cLfVwYWWTaD2XLTH7Tqa8Bpqo+Kynhp7Jg+1bVDG8/uveODWNkX75VlaIXfqwTqXwtzUsvPtoJo5bOeQTGShJc6xxTWqofQjKEhNcFucQ+P0tSZxEyh5iy79eemzD01+VhgQzdIDVM01vG9yNtdljSVLVAKatmlhwD0Kl3wmGakk4uloBTxefCSS62sWj7f9+ql+qjUhnAX8cqakvBBKugO8eF+JuPZ/Folr99aypeJqTUvxB9cGtUUJ8GBIUW0/CEaO1HdMRPpTYp9382t/Q4YaAzUIU0BaOzXVyglUmlgqnMWSyRwjRIP4CQfMs1lpUtv0OIqFXrl0QU7s8tC5WP6UpP2T07xb2rKDb00R6+qE0gLo9adNYRob5xcLX9jIZKuJeqV9bCxUThBJev8IsQBZHEN2Es8UCLv4ejBcQ+U0jJgxXUFqkR1Ze/id4ElZ5TLYKdRScQrLdkTCjM8Yrf8D/rRrGLNus0Fq/nBIZsQECqockwWWmA1lve6wkBf8Bxs3BxjK8HWDx4CULKn9DDXn3ZZ2QYM6k9RIBdpxu9jPZGmhz5FnVKeS8+Ln6baBTQeV7VBCK/3IfCQiSJhOU3+30/Y8q0Byc50Q6KwaTPgwhHR5tETy7a8F5f55t0a1bxw2LFNe9jVWv/5xVrnEC0HHLvPi/0GNbFhRxpcQsfE4dPZr2AakoGpoyi1idvvjqsAp/GXlR6QPI6XYhkS9pmltiVk8vG66aaqYl+iCzxXY3doZIm+QyMbhMk4ovMAfeu2uQWccl16nl68ynLF9e+1BAKjRYwVSuPcU2+4keiWi4Yh7Hhs+XXz8c2rcFpc79fRrfYMLLeOEE+0Cc5D2XCpvFRWBXsOz9cazNc6TMDCfaaAwOVUAbBPfvQFczJI6iQiSuCqvz8wBsdUJwAapJRCnxPI2ZJXye/n2e/+PDcUJh4vMt3VKWbJFcB6FyD7SqpYqUZLrJBa6YVvR/Pt9TkLshmfIWAH5/mlKb/nTBRPj6/fPYHeXsrSLP1VHtr6rD5e2e1YJ95Mq3U2nCj4iXR682BtwSA/n0OYahLcUqgogVDhNgVuZSyeEkE65aLwpf23szJRerIkvlHx+x0WwJt1WoIvxDRr7bK4I0Y6O8aGC8yUyhX4xrrJoGmjFNM866thZKFRb7EjB4j2WJEiOsqWMj5FL7IWMocqlaIgTGB7MBPVNqi/jDVyDihFWQ07yth+4m5USQ0PoH6uWdW58t5d0fPPGtPai5oEAJAiriOslo8Jj+38pIsvWP9ARfI26lU4kXIdp9KIEKikTQsnPhe0E5Ac2q5PNZCKdgZ1FVM/Crt4DgP0MUAQAQ5st+SAlwj4Znjv49T+coy3XuSGCcSonaAuiAdNL5ADLv5VUrjzlj7NM0VvZrORukdP1TXXJcvTsYOU0fXuwxeU4luLOaZcYS3ivcXlftm17F9JYocFI4lJ++ZcD7bw8YGjhkqn/KKXpvhXTlGgv/64wqECgHQpPvMf2UaB48F7ajChx10tLUrHJVVWAOJbOcqhFmfJ6em0scUK1laSbItN2UFoAzdt2WxErFlP1qHT+XvZubgbJhXxvcrQttaRsy6PMuzT8VCbIlUAdOvd9yWirYD/ipljoHMsKFPLV31JvkJ7pXP8bVzgfVTiSKtzIPg+bS3vALDDwWbkLmuTxomPMjUI752KR1nYGUUGdQI8WM6bFTWgP5mw4ox5iOFjety/5Mm4quC5YxALZ9+Z88eibKMY8HPfq46wgVx8qOWRRN8sHLOTi6UOsmb2lDyERH84aZNGiPNXgm80YbLQUfoNJ6AHqu4E0Ek9vZC3jVVo5ZFuimjAsjViOeDTtUoLVy+1q/IvSI136q7qdAK6RP8c+WSsGxXMFpigr4ZcCFVwE3UheOvjQJkYThO8JIuHXfkrnt+l+CBpDNRYZKhv31MDukX4LM7qvMkKoQyvjwgnIU6bR6Z8/ZKSKLdqDNWILWaAwkAJz8p7YMLLucJ//7nRfYjaLNlXbF8tYbyNKRqhjcZsbE0ZUN+PyGAB7lwgmnjl3vcpwqQ09HYr0HB14TePkrK2n5zTtwwvdeUQ+y/0A9wkKwu3twcmMnDcCR/DxvXj0OliXZe+h1Z55s/T2sLLIAdR66WxKqswJxasGJ8sK4PMIkM95uoIbz+thiyD4+wS6Cf5zNnwTd9/RQBjkCeGrIu2C+SFEJl/QcFe/YuxUz1cMMgWLoXNueBejV1yefkrXjXC9tmDTpupbXhrkFvLm6Ev36fLEEDfGSDjLOLxBGJOHsW9i69vOBIV0MJ+knvJdLqdWACVW5RRZEZWDE9v68nnOEZmEUQgE0y6iNyNNNbkFDKeMbMIbxQvCmiOWHFh8FyoZSGRjbDUx6oJU/Ep9QQeu4MuIzlDUki7iIgu4YzJ4dmfxOVtlqsuF28Kb7dn9Igc/vWDfUUU1/8EpOv/t7VtN15VPKko3eS7xhlvydem71Km4l9MUo0ARJiXRs5DdmEQqBEMWBaBT+IyeqW6k0I1d4nc80g6Aphj9aa2BmpkbGKzZl80nrcluVDhJjaPklCVfZu7PUi5wKXS5WWThlK0/ejJKMFdOobGlhKDtyaGl8oJP9M9S+i2/wjO2yoitBAFX6iq1BReCAdkuAULTywYG6QjKHVbFEf4DIWWyjwyfzen04jFRg55vXLRKy1c10rcVMI0QbU0KzuIg+0qKSNNVPiBZYEoI8zYW99LE3Bu+Ey2Pl+d57KAmt/7/F3DrTMW2TXhC7fY5jZ80LdXAoCx7qZXTZabSrT3DHLXotVQZxuU4AOzUgdEO992XAOSs0SUoeS9WAVUAqzL5GzJxStWr242qOzN2LJbpzQ2rDi8v41SSnhsJnOoihQzMJzNncTDH/PmWsYSo3Kd2qIN1QNoYZisOhPVjncsiGiKv1PTuhoWnyjMLGf7OD88mlXlnSj0IIhzb9lG806wOPOxCKpNeV4yNSNQ/QeBh9zLU5IiX2oly/NECTe2PgtIIEeZ4VsFlqqwjPiSDwXQhc/6gkkhAloh+0kNi5/j34X24+cpvS08T3gxiSQRde832TS1gzEgrPumyZ30EG8RwnC0YHztbj4MSVc5zsYGAKD7t5kNx6qXg6BPuf86Q/ZRztbtYepU/9DzPP/uGudZLYxJsZGaxkJtZpl0UKgiz7/1xny5igdLNcXmmXhHLKR7TgnzTP24XmvXVCB1gOyQly4U8XVsqhdGlhTL+92T9/gqe2mIrR78L9JkRTJP/KRCute1cIDSQd6d5SM60/zHWU5TF78DjN1iGwn3nVSwKNrNDQuxtR+H/68VxDh/NOGlrv89Um7z6WpMeyw+obUD65+YKaeJtanuAhnU1r+D21uaeQBgWZl3gUAeadhEhIVH3T89hmHVCDL5NUo0CgoLU4VxEKZCMkmJh8G9iE7/hEKtA+Y9JTD5LbMqEPWbqCbgmK8l+Cw9YJoFoGdRQYBxW/vZM5HtPe8mfuhy3XjE4OW9pNU1tTjqETPgD1tcFXHc+QCXbqJacJ6IMcLHynlbs3Mwz4kJpsdEpQdX5Kz4vnHkMBVGGj8lRtscICOBvJG5k9m152GX2sJnDdLe8z4xva6TKb+5D/S54ZW0eVgkkXO/qHZEzQ0n+5iXZl3nAZSOdDQr23ELDFGEjrDSjmeAUOwL4terp4lSRXWqGITgDUkjUhEDQ7Z+96DiGKrZXMQAol57T5JSckdvnQB/0JYkztTIiHRWQAA5ngJyX6EnIhUphxk7k3f89s5viBhtE02B/dWy5QRpa/Ey8USpp59Re5Yf59PUttjw0pxrwcP9sz7eZ76UoF6X4f2M+N4GhVg1vUpkW8qExn+wF+m44VELsihclmXFHoo+OfB+6nyrvse/qEhJAzc/mc7BzITj2f5EPu2S793W4GSDxkqMPwBwqoTDMqlVAHBzpvkYQ+Tz47snuFNHhRHc3tR4BjfdnpymOKudux08kJjmre+efCZxSMXK2q0M1zShv9/uRO1D97src1W0xGZoMtXn3KQc95aasitAAvPxW1xqjz1YvfnvHNhZa2NUiV2k1ROyioJr07kLxuQRf7dSBU4/FI4BQwtQCrGnMLujUVKgP7r4OX+kDeUagw5SdrOKwbG1kx96LVCJb3clqO78w9DYtal88U6kO+fhxPJfVLuxvoBSX+ItvE1bhODLq3gHHtVqbeUhnzfUjqkfnAc0BX2MTEA7YM0tgL5dr4MQKX1R2Zk31JbQgHfbhC/DxYvIAjD9+6UJBBoggdaV7Xv0CHMsK+wC1shxAcCVqjPEw7qZAhjR7h9TzMZeGmq2j2ub7aSH8fNS0uXPD60Q0101eQjqZp7IWi4leFWBKFYATkk/t992f/K/msCNpvRuPEZ9AR5/YfVuuCf2Z6GPY5NliR+WhdDY6DKg18Lwj2d7aVjkVb8MwVBeJPsfzayRu+GRU0Ho/zxgVEzQdUuxm1LUT4pq1FHAXoj3t33qGhJru/dY4tI5VqmwiN9uX9H/pONmoaA4ENDkmCbrXPFo4o/RLwAUXuN5GX4ojzVkw5b3bcr1WMlvncuioDLk9Q4jZacfGyiXBhUJJkKvsJWbdXTz6AwcUFEfK3ic5bAZQumT5WbAvKqql9Ewd1grhUpJ4NpETokxuDOIUJOvdGs9q9HdLbn2CRG0eD5VDXB5graht6ghCRSKJ9ts23X90y+bqy9WRstK1vjxNLFdgtREVWTJ4ElgpRDPrX5W96/Ikva+F13VBHYB3SCwaSxJVKFXHLtD+OgKBDwAln6t8pQwJd3jZaXfD8ok9kxT8B8Ump12WMNhZgP4DkJKEQWb9N0/RLnpD1ZseYb36B4Y0zYaOUQMYgFOCDLCJ+PDlZZE6BE5q+8kL+wvy1bMBkG2vHHHPjxmkywfz9E07mXXUjIcET6qw6oJRkHOpYe7XERVAuMZx0li+1Z35KpqfoBs+wxW2qYtBe55BuZotgSHv7HYCBDE1TIGU/rfX9ToRX1chfi4KWsDeTDWwOs6NwgpsWdJI3JCGlFLFUtjWX6BElTGeLfcJ7ci7hxU3rgNg07p3EzwBMHuxEqn11RjGO7dUHfKHT07qlEDJehqAc04MbrMZjPAxBUrjl+I8nf9s4hJKfcqYJgee0OPA+qA6gliu/IrKQ5g/EOGEl8pnyk7gC4V1fBscsrrxdoU8fOYQh+IoSMqd2vZ+PgvK5A/dxw4xqw8N+vS+DttJAsx9d8IPKMuXk8qfWTV4FMffliSDd92hofyiqx8j1CnNZ2D3dUNdVjCuLs/36uoNmCHu77pk42VBX6CCiDZ+5/Y+ZLBHdJUGe1RXf5+yVoZCfYnGTVlvV9XvomzwhFgJMdp1GeR5rvD/+fxsRcMLKt+amw46Csg0Mt9Hr6IaxD+nj2M9HOwb/M+xOF3aWS1TamYEEGdGvt7zoDTTz2rqTqOX9NrtjyGfkAI32//HY9JSx8HQ2jCQqk670AAkvZM+9CQEa5oeEo0pQ8/k8f2Iw85VEx9MjCM6eewRzy33KZaoBj3lDVCwRmMUvQungzNbdCHNklmFCJgnuk5EZ4IsYzKy1cBkgncjlKNk09fnvHAzKjilzTuRrfxexE0oBVnmbix7u5+9valu/rjzRHAPdt1/1I3W7uQ81W8Fm6wyCAA42+i7XKHAso7s5phAo4Z4Fd/tpn71kacBYSLn1Zlf8yDfR33rU1KoPJWPJ3spbzBCIBq4WfN6K2dj1VFx6bJLleYXZLpqMtxEan6e6xN1NNd+B6hfGJw3OtQak/Rc5HqL/1JElAShvXBuK2QvEzOADaL4mvLHooxqR/W/SQuIFbQGTaS698cRsu5EE9k6qTzbN55TazLTTpNHNDBkcGm3Vfg0i96UDPqvz9ZLL65RTMNmpUpA4cMcIlSOr7WCMiVisKa+9YUiTEaXPueTCLiuuhIUKBGtl9diCEbGfi+NWU45Kijjkk4U0Bq15hwfGqG4VDIf7hENsedPjAjf4FZzlJk47mdZTHuPLP1aqmtGM8KK4paqdFkNSv4kFTNb3H55U0tWgW00iGmGJcfj8j4kiM3H/luh9RcdJ+o+NdF7us3ozX1AJ55SjbGFYDCyFW8IhTlShJjZUaOiDEIcif356IcBZZ6wKhv4MW4AwLEf+X1e9h8+YKHJ2DbDkajBHhA4RvVduSKnSOwkSt4aBdj5YvlgVTsBw3B1ue4Sph8+Xx37rWD7UzAS3PCeZilYSwi83MZMjiiqS2lZjWXbjEllK+9reS+v6DWBYOQ4MvD2jdE39issG/WpwMV6mtiLernxuowuDjMyyrFDjnDExogqV/hS5WSTDmaZFJPUVqLVnp0Ki8k8xDavbYs2PTVoR1G35U1LyjBMWTbC4lOXxHgCIqEsn2KNxhif83hB35YskTQnIb3skvmqHcdk3yv58VdVFfkX+4oAxWxA6yLCFa0SneIli6NeJ6JQygPI34dDK6XuKXzr+F1cubeiqcSFeprOL0OeW8f3v0PmVjUHo8MKMIt1J6GRLumS2jZ3hrcg2mENSEz/PyEtl7JccMfq8YTIHOTTX5EdElOzDas4whEwMltxm9A0FERXMnkS55KB8mRwXr40MCMx3pWXyA8MTL5yKDgtRZwiUIF4QF3pbQx0bIYFYG1qi26ucSa9S17yzTQ38CWyZ//eRKiHYubMUaeu57x398KjlKuSnyIy18ONUlQFe3ereWDAIGrm9ukbWSfDUxuJgV+C8RgHwzNjjjMDIUPbYB4Oq0A0CHEAqqsC6wPtsdcmgwiW3xv8wfcdTgNxs5krQ5Xsp497vZCM/YPY/kkbvBdsYgs2en4qbur9Vogmnd+BV6xLSAXA8PGwLHXvz+byf2dRTyZ/Inw4q4tki+JjAF5DOU4w0bPRgv36+XTxCbw5Xs8R+9azf/Dx0jUx5pi8rT5TJV4NUwY0wTup1pPI3O98jguYdDV+tyfnC3G7erx8uw51p0OSK88x7NRAGK0bnUntplzYi0fSA/NjEY1XWIMvXT1f52FHi4rtZApPn4LfjRYETe2tiuz6u5w+ZrEHgHLR+NQR1zsOFhR+NliqW9E61tehV29VZcXwT4jCEu/9Nn0PPF/g8V+fNyrKl54VKl/8kmL4YnEeMCjM7nLK8rlKgT9s35j2Y1R9MT7TERRz6Z8mtiik7WEQJverjhLz04wvNzujfE1MWrWgun7ErQyik+IrLdm9qEjwBgF//0ZaqOfCqhi0txskKqqSOS9DG00eio9H/pilG0MeeuMyC+fZ0qy/5BykZcVt7s2zIAm/MuU4DBDRsevvg623LDb1YOxRufeHzRgmFmfjiQDWYoo7QE9ao+fqYEHZrCu0Q4UKvtV2/ZTOhjulB+AhkPZ0+cZF/UOfHKI4+ysVol3o5m/6GcibwlrOivIprTssL0oIypkvi9j4a3+zxw0wvEpli2/79k8x5kpIeriGo4nmR/YFpUMQqTS0oBv7APGfT/g6FtKbfO9y8ntE/ROAaxiaNkGDaYQt1ayY71PjBqJX9UoZPcJXH/dAPh02RS5nUeuxqkXsS/wxkvbyCHgdW4WZHnoNbltokJi1bBXW8WOQljexO3uFmr/Spp1OTg0935D0wh0sgc8+Ml+5ThREvfNg2Sj1u9I9jK+VHI3V8tc3p7VehKGi6MlbDOxWr4YFBC98xOZV2tCjSt5tZ4RSIvMjddUMkCqks7zjJIVNGUJXIcBmr54rQr15diY/v6Sx1x/EgzdsaAoeYy+0KW/dtSUq6Sbqit0BWUmKnlhz6TR+h3/F3JIByAvM8bKMehG+R6Gt/ii/FYt/F9T+5C019kyBhmwAWiCs/Xt6qqR/5soWyvKXoWx6J3OGSL8YUam+w6maNHjL1FtjbN9npttC2hgWtQF81/1G6+tklf0HcQ1nZfDx0eQaLkEF8R8zaX0fHPq+lSgV/pFugE6RThgyI7lq+LBf94gfjBROkxz6E1IR3d06sYW28X8QSU6FgwexxLAxQ9+H7RyQAgpvGHh5BmfSrXs3ypuhmhgV/lqaoXfvZzdFZK+PH5vg32tlaTWnRDhOIcBLlmj0UqNvX5D28Q6jgVo9FId42K0iE4R90Q2KQQcMFhJs6cXGAj6zi66zsAGZeSyn2rkdcpTa6S/Ve3HWZEsq01gXWbWwLZSxsvBbUCzBMu1dKkpYOSmKQeBSZjfBnEy/C3nTkmT95mAWBU4Eg5DAfkiuS3v00n9nyD9UKA37bO5RRft1+NaEFUJMRlyqQXCCpJMgS2wvaKrk3opaxM56U23oUbUVzriFGWYSEuKBvbS0w3ukET1frQQNj1C0yF5qwcL1VvSyQofhndrcO3IdvMHrXb46yqE5+QUbkJfAu2Fx7dWaXPaNSegKWHKXnWpeCrSYfsRGBs73FskLjvt3YxlonRBaZCJXAKtRHtB5aoDWyXybcq+tma/B7FiYzvi2pqncrx+DW9BiBZHZ1iwSSmLndDZAp/kd+yJUIjNIbEzBJ0ginrIrH29u/lbzI9srELOsRIuFlJXw9vzW8BZcC7C4ZkMTBy5G8E3Sw8yLM8JP2Lr8qH5JMU6ukkh48yC744GHRjs59OGNfNmg8RTW1r00BRix6gnTwc5958l41HK2KCFvLOx9Avov0AFInSf1MkoP2givsdQ4JZbnqyJ24dLTI2nzb0FmMRpIE0ZFcCp88If4mzObgp7xD+3KcWD90NLHGARaM+UvvFJuVVgAq+GyJAAJEDgJhVXgqQOVjkbR+nQoC7+9CKx5xMjb0LQFHqLKOdintRondCya6trvYAfSowlKMwz65zq1j+v7nGbDnQ9RiRbiadLltQ3n2jzlRxMTDe8UEP3mUc7Q9YrFKDPrHgk9vXy79KGK2x1OwfjR8LzT0IcQx1lKDGwmcmxHTMEmgzwI1PUHNfzur0o4CUN7LvF4pbIyEo5yYmMZj/d2enx747LEkAu7iI8vlH8SKQ5yEGAKuxjrInjHrBBq42YIe7IWL3e1SeiA9O5LNwYyB+0x2WCNFOJy8o9XUq0b/gJSk0Y64hIGhePL0yY1iJprfdvCSsfDPA7fVTRC7GsPuNGuDN+U8p5sGQLTQsmFIXQoeOctXxFK5EspXIzaIR5CCk1aMet663XQFdyj5McHED7LfSF4iNqHep84FktOZrMoIFp26Udbd8dai5D8FHKbCIpIgZxUStZg9hXPygZwslnqEAJbMY7w9TapiRnsHhDlRuEnWVzgskcae/4XZ/HNAmzaEeNJsVjgrUKVB0UE+4r9kamNfO5hxLAkkOA4UzK+B+spk/RsPlbV/35JJien0V45XEU7DrNt9EHbLApAjNIdiKxMXu/6kivo+UbBUeZoljnXzzLSH05ZAxpm4F3Trgee0zyiNHryjPVbWmL/HncqY9bZVwm59AmsqnlA0Y16hSm1U7WP4srZHgr5XlpbGvf063KWaMad4/wJRl37E0xV81OCpitaMeqKlnE4a87RDlUApJ+Z21szma8VBZtNXSRfF2USelU7G4Eo1xtnD+IR0tnXrOy1WL7LpQ1g6pQG6KzpDdP1ghj4EX+qgXlRn6sNownsU8TahCYPD1s6cr1bUTYRQQSW8OM5+sUgZxUry766F/IjA1/O1cliEeYYiJpPLVan8aKdOeR7wtb/kX4nLqvsf4ZtFb1k7uXMXiTvxc4WAIvKt/72pErLaxZi3coQkp8/ZMLsfv7RwIYYuME26HrLmRMU8hzawZ9dde5yq1q3y1CHjcaD1dHFXxqehSUJgnhN9JXGerWDQqEijnt9tTJ8soB7mz57Uz4awhULlDw6wGBvi6a0SqrU3RRgKYpg9Vupp1peVFI3keqQQrJR4bu+aBpDMjsLHQ10ABUgTYdPPJNKgQyml+S4ya8B5PaFXkdcCEyobaL57p2zlWWB0VfuDdeBGk+rW/rguvVqTBC6hCDPBPmFelA+1NEq7FYXxI4/4Jd+IeefpQFj4s7f79pjRykadCNCXJfY7OBQ4QEOjzakZVYOuDe8HEKn4uYRFaHLiS6DNbtBk1IvGO8YEArqAlDiTdkW1o9q2LfF34EsHqwbjU9PSEmaVh5fxOHkB1Bt5sJpALq1ueB/oqL4W4T1rtxi5DKUWnpUAnNEUVapkDEXfRigqv4AfYgEcocWMgvAjZIXDkxdKCDC5OphfhiCmbaMlIOfkstUvpqQehyJNXLojvnTpjJXB2Qflss/xsg/NhgKqF0wCxP3SyOlcRlfJdMwVvuy3T/kegHnA0+Zrfd1L3LwZUp/KljeWWR2jNrr0uWqoOVTeYUq7nJuJYVD+MiW6oa9DbqK8ul11un5ycoPkIl6PVhs0Gbu+MnaxS6pmRuBZqJKaYGM8xIZYxdhHEjyNujKUojVVhDcEm1oPPBCEUtjo5hEQNaSHix5bTZ+3lri97nM+0pLBjG+TY29SwcaWIT/KTNcoIWUQUnPf3+EEcwkoDm5A/vX8R0WXetO6LSBg5WjKd4w6cQNW4xqzX5cImn6nOxLwJxGrW6uDC+lLNOZP0gozNzKg+isroGXOy/aCCxz/WsM/ONapPloU1TQsO88XQY/WyQ8/BZjybopc9LYfdDd1WpFPYiqOEACO9zMWWkg9u5RmpRi/I7/7kOTOdAGOS9Rx6kGyVXyo8qmetFgKM/ylkDDKuTqujfC6aSyNMsiJaX98ugcFHFC6jz59SY6HVl92CE8EQWIBw1blJzBXsq3FsfbqhZU2PfRmg8UGIq9dk6LmH0AaRA7Md1ZHMOV+Mmqct3Yf8h3T1JZSJh9V45wHe/6vjLFGKLFFO0l0Dvett7844v2WonMbwqUg/Ry1ELilqO0s6lcU6x/0H/CmyGFubyPip4moiJ11FjHy9lKeRb+E0B5jiZS2Pi88JmUlbAPM15KRLtxmyon1mJ8hzIpXIDxPHy37gMApny8t061Lj2MdJr6mlrlF84dH0agxr64bLQRlcR0wcG0gHn5OSI+azt+4YcYV2QZ+HLXyYPBv4dZ8oIuIC38aAJVUj+nJPRhwdBXCWAjh1qOdFaShMv1dX68u3QKCxDcFcYC3gnJYvZv6tSUBbedw7eRDYZNy5GOMSSNjk3RyZAFFvezdDO0n/ZQoNtJudeLz1MmLJzDOmiRWWyFgF9CD+bDoui3p+QDB8zq8eP03Gvovxv8DZn76iVl20gnA94w8jYDUze1zwlMT1A5ddvT0je3xAhOBzeB7BDbndd1WZPd/KrZg8MFdvbfR4GfR3s56v97cofZCTedQvobh/ot3qn/M9ulXvX8dgeXMkLteuSwcUUgrkOwjz9xEi0OrUTnVDlF4cMYfaDlb3ytyOD6vCiBj0i9f0Tf8PwJAeeOtSyezvh5yMMsQDfzkGeRCfTKVxxmXkYLLcVBbFxS/GnshajxEVcJ6hSVjahvqcwDjUpwTsHUoGNXaseRzMb0gPbH34ogHIAWMcE6d+bWhLs+UxzpDaVZ1ETltWk502bncMeWoIwyMboWhp8A2OTMMeOH3sWB3D5ffvfVvA6M58Oyqg5B7+feJwojDrR7kDBKnI6rPlM/VjvUkIrUoyEWKMwLrmDS1CmzHlDZn2P2EV+qixrUkCWkC25FWTQQpAosi/VK8G2i/jk8U9NuNpETAUCSgen+3Lu0cri4j1gLYYa2G7iMfW70aBsq3Zf3LIO1oROMWI9ewZ916LqH/2PgzMBvyAUnLrEcjGtsLulzHWSgNgBy/+mZHDzofS8TkcUaaKVLNtxAVv4lhAX3jN0/BjRcb6fyC/mrHM2asfh1rcx+SzIJ+NQvAwGEKTY7H/ziPAse9z7JzsyfgzkyhvAn1JJLf4KKxLgzQz9HBugujH/B2loj5fY/SsIHkFpjphr7UA//aWnnFgsMD1NZX5BbV38yBvgJyEf5ysaaGxwnm7MHM3XJkEdnsFhpOWApvinA0jje/Y1K4CwDn87oOqkVnzoaEOc6g9s4fmMkm5mwjIbRac1Tz4ZtY6HR054LLi/SuRKZ1iarCWTfvo2W4nS58419e1Rd2cnT4PbnWylaAEJ4T0Rbbcg4KChiUJmhReHPVCc0rL/lzMU7u5cwOI9e2R7bhH/OmEDq0UO35crrMszzWhrAprdFjbWun1saJqu460dL6gOMmDFXe++0RLdibpVVrWEnCa1RghIJv7rlJkailvA+coeivwl5f9JHi5KzMlOxNMvxguTJOcKMeq9bJwAMXfkM88FBR4n+Bho4EuvzzKg+iHVDEoPCgeSAml+20+dgQ8BtlQdnECOlCdwwx3y/m/B5pJXLHwlIqvbTyi+EDWkwHOan32gFHlDRdEFmYYZlIZft5AMvlhZJe0crtsxsniaMNhr0BYE/31GPbVU6uDptko36bBd3eKXd1xjEQ1EYAQEOoHQYQ/FsrteyXdtk04X6rVL0YxB6tdpIl4Q9fO8xYPN0piq7y5np7qE3GtlVmn1hGShON0MjjvO3opPcLSY/J7yz6m/qARFuGojFUslykyM7d53JUkuCqQNhDqPCcZSFqSaK0eCkWRjXlK3hlY3xwkgTFmMrjAibrVokQhGv0sTsxxf2tpDZD8gcvUAmifFEnyAUgkvG7uZXc0We93ikGsBqjyzDRQMRQ/FHPaexMMh3pEEbyonwPwPuQbIC7JKk4o7HdGiUsABXeHlc8EBXuuV4WvrT/TmjtHzg2OEzfxLGkZ30inPqQn31TkJFe+fvKccBc6m/uiXWvc6LKnWD7MCdc4dM/cVBNYYd1y/QjDZYoNKXMPKkvPCnHYyb0XRKfvH3xEIwdShs6mjkgtUP2dD7unKkcN1mSyZwiBLATN2ctWLJnBUm7KiH8gP4UUT1aq1myFc0ZEz4u7cxCwj9noPSDdLjSQ/FhHSHQ207gOpch6h7m7WDpsCcZxmi1nlS0Mqy+1eSNnI5T0yGHCRopn+w39ECdjULwoj0tnCFGOXlBT2LM76fJiWa+9NFi00U6iVJ950rmeIl+UalhZbIfs8svW6kiVv/tbkO3ggpQ1iVK+2KsePTci47HYuA9OA0OBCwQNkEc29QM0nGk9bcTXxpCEvkttbwyTDAfy5ZFstcwB19upGfKtUXgHEyvUPyPm+WOyJRkmgo0WcD2lKQafaq08NPDAtGA/sWpCeZSw1P3Tb5N5AZVMdfZqMghJsA7s6OLn66AjACLo/SBVZ2GsKOqmWuKUAS0KW+oeYHkQU2NGs57HXtiu5aAkRHFSdrDdVtLdsriZF+bu5Y08acTnCZ24SveqP+tHa/T8y+mgv2WOybMxICmwI0+jGqKw5hJpG6EPxzaWs1eratngjm+7fRCZ17aNkVuUAfww+1B30MzgnYjygi47XcckpomcOM0taP8D9UT+7SbeWFHfugyWpsJ1KaOIyYiWEZ7pv009l+DSoy1DbFLUzlg7PCB2ddZO6InwHTrd5JhV58387PlZKm3inuaeoMYHDZTk5zIOlajqqoaqDh3jNHonfsPqYrwc5WGxpkw1ES0V0YkjgLzIP6zuxIhQyjT0Q4rhMko8b4fRjYU9KZp3pR6jypnHdxIZxKDmVnkVMQEmlP66IynlSSFpgV4sTjE8iwOKeT7pCCdwJjabKeGD5/SAebvHExLAfH2LMshsUa9xpVjWCRFG2mHEjsVgU13KgJWBxM6sZQbUrW6QciJKn80X4HqB+M3HrNIx6ye/rqerfnyVS5VuSDQ21j5kM2ERc38tIE6WucDJCZAFkJOEXlh+QOV73q2PJ3qyd/9L1p/ry9Jh22CwT3v1oE37DJAd8L9p632S3XLCvBGdl+y3ma6tqmcfbC0BgAQFwPhkqvvCyLmSlwlOx72gJztNWlPz1cc9VVf8PGVCtIBpjI7iNwJ2nX2PvZ6gKq5u3VMbnEBQBOXEMjG1vA8zQKx7hX971A4QgVOh8j6YubCCZoCG0JeU11dVldT7w9ZniLsHF/bzw4AFNWXk6raGxMqRstvNr//IV/SQDKpR5mG6A88YjdoIiOuLdEVrcok2w47i57k+cNUQoXB2CcCJcFCuxzGwVaXK5p8A4069u6o6M+eXzajep/OhIqTxyCEBt/EbNxcYrEfI7SJloqpGsxNECpin42v0UP7L8XZkS/g5aVcScYaWw17XyOGkXXViE8Jlptci9rHqALHh/6+6brwpg4p58oeF/HrHFaoIuNiX6k3xvralHGe4mDuoxBJ/Prq7NKLnFOwq4Bmr0dKdzVgp2+Gjl0/F+0rbiBbNQJ44Ml4/0mQ/XNIGnw9FF4co0ph9VL0iBOeHQs68cfMofjz7/uF8r7bc1+Yvd4h708RbrchzKlHF2brKDP1YLpngQc84GoVqdx3vBEtv8hiSLpFsieIQl+ZcFvDH+YPUEYP01y31ZgptRxiMB6+FeyHHZa1KWNjQVAipuhi5ZjE+VpsZLLMjg8gp8bEYBYBAarXzpAB5DI/8BRQqIHqURWvj5gc7ojippc7l9xvJBptqqt9ji0Mx3HZFgsIgMBEs4m3ajNLRNfi15NWusoLysuJHCUDO426svxclNAlBYZUZWIrFB5NdMTKjEVRvAVxEvAxOATovTifTI+2dJssooS0YJDHpCaBiyPtOApcrbEBf1mNQvOf2XPnOOtMjDw8WWXtuXg+bDPygETWWfCBC0riLOWovaVbodQ66JyFVGZ/kWtK8Tr6Bjc46a6F0jo0X0aTlqz27qlDx9ZwSvo/ZV/d5jphCQM5st9akBsW/17SImOqv1R54KYVYvqUR2rNR7HhTTnL6Ma26GZDUShhhtxMsIjbB88oN9T8wMvS8F3RRxCQHdBZBhfO4CYzAsJdaBotxMX6ej4EBwTr09ZYTrq1xe9cq3XRE2J+MOS4bkVhigze5sGY8rAkSFW/SzjMZu9OTk27uXzQrTsrUJIW/rD3zwvnPES5wFw/NqQZOl4saEUtJXh7625vJeN8zVnkXtNGzuR+4EqqnsmTHMKfi9F5lLILp3ry/F0FFcUTdtMDGPv+0D+/h4i9fX827DnLqW7DqLnTbfv/IOuJ36DH1VNjroMdYfC4K7ffs2n0OrQF77LHBE8/hIdDFkaKsKN4hTc+AEVuPjD1qznTOU2t05f65vzjoeF8zzsWLITjC1Lv6RJ4HCdoZHxHnHZWpN4vr7cgDEwXxELAHWOY/VQEj9xoqEd8F4hIue+o5fFtdBg+YASXZP5bEXMNgaAI1IhZi2XwxZh4XZMjuTbX9CvOEkyvOP9t3xO35+77Qgc3dHKBUCn3YQoL6E3Bg8iS3UJdXcAtEIVTsWSrPonjeLPIH6JQ0i2nufwcgW23UmL68fwentAb9VzvI6GvXp8pxKuu31zqqQ14N0qfjHEJJHwGGjtezNFoiq6giHwUTaRu2KapSB7U2b+Vg//oDPjys1NhMkljoyXFikspbx9oDU7IvmaLUBJ5fh33uQFvSANiGOeVTE/ccGlu16HMRArXZCXF9+Yws/A0gQgZvTFl9SGZuhkji4U/gN+I3gvDvc2eyxYpDSo3X0vbKjqjBWShzbBOqHzj8KUl5iMWtaGyx7UbtArQwPWJOc0w+cYdmgah+ZfGb1U5C8QqhKEa9GfHuF1n+5P9BnB1RrxCoNk7A7AAdNHfuFJXjz6m1Hj9r1hJkWtnc8sCKaB8oVDnJqaREkeX2Kh0yqSAeJryOc6eXEBrE++T3bP2w4kfNIl/MxLqA1Nh72Um6rtUEOJPQOYydnud4W/ogyikhzxdAZbyp95rhm59A/snVAApDtGrCsWUlIQE98tNAP0xYnriGQPsk1cQ1udvTLCL97FSSY+qrucHhwDVPe1vYlu1IM4J9TDOLf5pyoMdPIhcIjveREqKsU/BYSxnChbPsAUkD5z+oNfKCcV3hiP+mJw+rLQffg3YWogFPzNCquk2psAYWRLCDKOD61wht+khRItAHUBrXJzXLB5z5dwa8XGSCOAzi7fEB3FqfpOyhZY4UKFj6ktUCGHA4iixv4Vv5g8jRx6aYxyB7NVolqW+lE3KgOxCe3xUR7X2prbXthV9VXadpHJSTOlHFXiyC4GV57Z6+fNBTOAgkW7zB6vG5WG8cmQgEj/7lO8AewF+Zq4uKg3mY4z3nFjRAQKzvJqJne0NVhssxqik/JmgytneRhkemU/5EiNksNNDXbAAtAlAUnT8QcQcfokgmFk7rr48C+HsB4Js2DSu54c64aGdLXCS+azf9Nh6G45kc8BCnPGrfisRbRGhSVKGXVpt5bgdPAP79Sqe5FcNf+FkvYENOOUXZB/95ElG2GQ0glHX9xI4I4Rdpp1GIFoVHjZZxRFB71/puIfVsrqufBvhtCsLkc7GwZhlvkkvTOEqk3oAVSm18NBW33heVhuN4sdsBi753VoSU3Chi1nKXr2tcKWYoSem5OlCxZB4nMNj0uH0sVJp+cldfSEk6c34U8q99JuQ+E/wPqITBmE1drza91RWV9IjKmOaAh4lAHcEBAcAYGcAb462RuxvIki4itWEbpA8WGzDC10j92a84rCn0iraGSpL2+PM5ddIldLgoP198ZUqGblKFsEO9NGRP+vXOEga74LCqIJpKK5z51/jWp0C0tL6oOUoMjcWXpZ4CNlBeKDD+o1hwhMnOKM757q84OvyELNCn8KY2pO2XbYH93BVLNgiiv9lW6WYB83cmOJaQyElNLDhJglWgVhS+GtiqkGrtffNbXU8fYbBuh1rGMWgqM6e7LTIvtPmihCJh5fhOa0cbLi3J0E6cdD9WWE5lLU2XkcHkNZDShJ/oRd8S7/V8u3Ehp3pKR20dL6O/spDu6CgTiPf1fDcPINMxmm57i4NxijnjvOs3rnjvteEcF1t/WcoDKtehRxmFewnP6EaAz7uRtljGVDnvHASjmVczx8ckITsPvvFyGpUIJQ8DpI/UnkUblBScPSxL9uYhPWhHzB6VJPARpH+pN74oZikozm/P9QRC6k8Ap30m6iBBwkzh89scdYLp/Dlf5IsyL/JC81tt3ff6e0nZ6hxkqzBPu6ZJ2vKgw/t76SYa5FAGQjP4GNC3slvX0M+OQl3YHhX7FmEZJV4Wn5aFyKutuzj6vXaTKSlSv5tO2YDXJsvL7LM3McLtEId122Rd8Wh8c8QPgKFYRCIeX3bGC761tLCQKy8RMDfqHUBQOmoFxk6DUW0UtjJGbmlWmtzr9aFGwFTuwt1QC4gv4R13GRs3mpPmCutoEe7NVwXRjwGs22mPFFUY4rJG2yT3zQtLUvw8eGNo9MEDyum/b+9666iDmugJe93j62tD5ftqZvVz9rcsVrJ4eeJEU52Xq4hOc98mEGwzj7o4cKe1Q8x/ZXPJUE3ibddkvTerF5Yk8aa0s8NXEAv0ebBeiDwGSD0v8jX5FvWJv6ajQkMAkioiQqU3739DAcy4Il5UWxqwBJ4dKx2Rl6lIXiHS6tF+0YPiGqyW0wO1KlZ1NWo5PzepwskTRB4N1umLaMxeVWe2k1m4hANvy1MBwdjuCfXHNMO2lvvVakFTPC8UHqtI8A3rBM6/pkj+0//MKwyCx5j1RE7fz6IXRbmH3q5/77gn/qDqTAsiDFzcLYuqQ4d0M5vzX29SHvkc9ruQtBp+seRM35rpkYopDb6egUUk9UaNNeurYqWXerXo+sCze7TDa9bA2gjFXx3mxMPBv1+H3s4TbcFywtERrdwwGx3kKwLPv5FVQHiuFteJI/7xfqUTNoFM7RJXCVw5nZlHzKWueml/67LuuesnaNoZ8bHJ8/PPWgb7PAKzaUq94Ys4D8f8JbXI1QOfc0bLlaq3FGv1kG9R3EBvviWGWPPWf1vOtt8w+tUjd94e3UluvUdNuupTYr7M2x69mYhqO7YZaDH4oFK1zbozEdl2wknDPcrCWcZsmHU4Lo6WtOa9fz7WP4ADQ8LB0kxKodlpw1oHg/w+XtLHLfjAaOyZXaRFtpomn9XiuuNWfgl7W0dHKPVA9O0+xTGIWfMqcSqt+nMyexwwEtGO8p+Du8pHQ8hYCjCp4DnRd6aZz2tgYlcTDmRlNMEQz0KScrT/wBuZetgzLj+cQnTO8765cQ+UEjoXzG+KengmyZdxlIMN569efrttelguikykpTVDcG/tkImASPT6E9eJ44UXFu+tahOe4s7NVR0tD7K+Pz2rb+pP9nPo4790hkeKJj63cmTF9e9v0P+gFC2df8tbbNP/DTJGgJuE3x9LlAtmlhdUOMee/ncPPBNceHdCFm5KeJj939FL1+qHn+ZkuuUJvgV5P4EWdx5n9ZaYoLAnMbF511V70Ufm0P5Gfx+lMXhSObVZ/rjZm3PkfvmxTBBhUfpe7JhGl4tOyyI1pe/nGnNPE/w4hivoHAPSqbywwq77xCyVtFghw8b5g1xS9cVB7ZZUP2Xjx9rDJeGxAupRk8W3rxz7vkYkG7wDCgbA6Lpo6JvIROcv7QERJzNHt9jOAifbnkE0lqwS5BL9He8jQPxkCmrnu5aBWQaAnuaaHjY3kkcILWPH91sFj60DkTsE0OHTEx/02t0TRFriZYmMyYSwWHWLFbeDgDszW8M06MojTI70067xfwC08ISir0kOajproh5lVm9fRs6z6Ki0EvF6tbZj6YBQBgvx1CRPg4KaKkuUV9UFHvpHdvrjwVOhRmRl38JJzHhZv4hYMhXL1LbIka5g85NxfSLrMqC9xguhD4swUN0V6zGtG4HFaY7AaqB0fPZlGm64Pnjs7/JSwCvckusCf8lQcPAo69EI4M9wQPXnzWo4c3OL3FD0JAGw3NheBehuSMOIytmO1sgzGImehrwBPma/+SN9I4Mxqfj6uYoA4MVQa4xVCsiY+ic64wo+u0tdBIia0Q/K9Q8YXQ/vI0iZ/ZNC7kInjQYB/0Rtj6MCzLOOuefm9CQod0q1YlI4RfSagDXtKzV5WYkn+jvlcPC4L84BPpnmwQlQ6OCpqS+gBI5L9q4ifRQp8IXMZ5GDCIZUYL6B7mAsWb04X8HXFGvQOL3+ZmL16uiZQJN2OCC+vUoprG7SOGaxLQyFP+KqolqeU3gpitVXyrLPmpN3Et4yAlu3Jth/K+A/4xx0uBJkUC4vIggtGxHSG85IN8RswcVV7cG2Qk2zXySipDpcPIBpK2o0OIxzrXtvdCO4s/BHBEYftwO2DfyCgPBCRVJavQTH87u/CbyiWe/8OyzmQkueWm7C+ztRs6YScdubKfz9lx3rduun8+imTse9hETbz08Ztf1ffUts+3RoAMVpn67pKe0zdKGoSUZdXTxZnwBCWmRic6orLZ24J46vF5b3LesCzn9Bz3CGOvbJlQ/CKng+AWa54wPqmzdw9ABHvdACSZ/SSaexMswOKvgiRKER9ov7/lwbRTPhh/0pK2uYfP2nElt7csK3BgqMBAIihsXTdo8+gIE4T92Abh4aoPO7rdYIqNovG0utKbH0gmjk7QPdbsbXLBFoyZJ76tEgFfo0CmsT8Q55KNEGnBXXdHtw/LosUxAo4/gyUWTRnQh3FYz5LhbFMm8CX+qgtUhUBmLB8broYV4052tdlBZH7V3iKmJ8y+W+UppmtsRiOUNLD5gmShZLhSV7ONvaCpM9fcomlgNygNF3hzfF8hu7vEFjPJsYVb+CNKr91x1Ch1jeRMq8WJshyfdcEshDlGNlh7EHBPkHUAzhtX2K8x8QlO+p+edVuB/DFL/FmYniQSfSbRGMI6rGSWm0pF/WpSqJvI0DxVhl+RJ9FRZlw9ApHLEObpOulS8VKJl2Qn+cxuQv24bKlsDiLxeyUYmhz9QPmyLRGTw2gME4Ionba7mFbgF4w5KRk2eh8OHdSQlYBzLR5EqZQEHS7YPWQZQA+ga6aetzRKsPC8MvM/1Hd0rBjUPdqsbiBQnEWPg7j1su1I9E44mmneuJgiIrNB21X3olI7xNZi9rOJda251wXNfsNXyW32consNc5kvzfeCRjH1H3LembRNfQYLiCyLn3gnKpxYHtHlhpsGZu35aIxP9Bp1uZJWBeGJRg5yL6eK3TEwgzQWmy/QmjKo7CumDnQgm5WT3RiG8kf1Xx8QIonQLBcJbwiCrvv1Fz/zeIhbQPiLJSVV7wJWHlJTJL7WdWLofq5ve0RTW0C/fLckS3Aj78DMsy//ZYDuQKm/XlQIkME4DbtjNZlmsqIOEt5khSpztyCz6goPXT0yxZjBFf8Y5SmHQdr4pMCwWWpo0vqYaueBwouJBFSK+K1fNFZ0ypKKtBL+T6qQ6vk2nL1aShGMmYtkZ/Sw6At0gEsLsFRkNg4hblyR09MePHMPPf9m8lqetzbj8SWbGkAFGi3VKoybjSYbn5JBSPYyIgJYbu4nzypFYo1xvwI4FUz/HzHeRGl/aRwgiFxJHgvez7qKHkB2wV7JCLzilaX6+Beq6eEi9T5ic4sfhifL6kbIqrCaUNuVQwRhMIGyObsjdGdr6hIVuFVKxQji53WN/g7fx0Q+Qi4NJnHq79Wpqyk8knFJG3ZGfrlZD/glJ52rgcJmdSh1DFPPt7gaTaresVMIDQj5OkrWQY/WAIsWKUCCpaFD60n+6Ph4YepV85jR799lpJkOo2MG/p/7O7KD2mazjbGLQw+7MzgDiNG/kahRYHbZJufIibpu0IeBPp7UunkAXpDf1aIpBmP0Mvsr5TmSsYIc/84DEQRSUhNrcuQDGwtmd4ZGxjnep5LGe94ACJLh2Yr297/0C1inMUqAH/eJ84Zlm+XgvU9WUelvMHshxQTqLOP2GvtN7zrwbJ+FBttdf5vtKNY8n3qc1Uc29Es89sjZarsgUQj9MeLAn1n5YLWT7MHna6mZCMaYKhijq93DBg9pmuJw9EQNKUJmBKpll4GatoFJFaWwd6PfGefNiaAMsxMNwhPcgVUITzupfRt9U0lECyZHfyuM0uD0fi92Kqm7WPTnFdumtk6Hqj3h3EqIedpDJPpM+4tXlKXqv8osN4M0i+EMInzQfPlkFpJ+mUWlXe0hgG8L6yC4YcKPYn0b0jRvQFlwpf5MO3tHyWxzF6RNG/gPEQsyqhSG9j8a8vvjTJcJ2Y4xTMklR03cSzykiKVjS1DgEeghWzP4BhxVJmwLi5ZFNEhh5NuHuU1G8nlZNnErMrejLLc7b6g74UL+zuH3IIIu658YsW3cGrsg0VEIM2CffpPHdSU08UpJv7d4881W+P0FMImWDQ8bVaBdUgIx1Yo+PQJyWSDoDg9njkreOiq/L/OyGUTBC2UqaX4PYiWs0sX1iyVH0+WpADM3IqOOMq6YxC0rrTAbLzvxGzE/GjZn5WJVrzFf4bEeyHJpRIdYf71vzjitIuphAtQtmWY25Vvpa092QaTkh+/G+5Z/MEIHSJWGQ2WMs7V7k8C/0g9zEcVums9rNrrw8AUuYMbWAJI0GeUJJYtHMp+/cPLF2R2Qe2UjBam1XkAhKw+vDd7inX4UzwuuZ+kGgPP9D2bZNX9fdHm5wq9PqXowaNkckiTK5JeqK1sL1aoXHrUsd0ntqowzFYQ7i19w/rvosv5Zcr0XGy2Eet9CSPrJO+d2VapQXdlh7c/16sgQ5ccaTwigaJCWDKxzlVt+e1LFiikzPJQH0zrIqW2VxYgX3+cPo0I4PQCuMe+KBhX0/bxcPkd0lunmLhGia6so6t6iSYtYj6VJbVNu4ixDIH4lG5V60yuHUi8aZDXzQyLGqx9osIWVJ4nfiTDQbeFsAFgxTf7r6MAZ9M11agzCEy07JYnJBnQc3NUPVTVKoXO8ZGB+CINHJXyreIQO2bcpt1aEqETiClh8fntFoBJ4aXETKpS0+HaaepuD+iMdnBkkSPaVmE62e5QzG5t3D3RAWaGix2tdy0IkKlVI+apx8JEqXK8C0i+5iYtG0WvwK/Fss01vBaMTtQzcIMbk0QDgZbQUDLOmNlBSobk1h67RozdBC0YbGlAI5756sOG69yG9U6osoYL3LQhaT8hq833M7f78q/Xz43SMa8iXlTxFjCv/FchU9kNZK7yUlYBZAoyhni/V6n6fDo+lMFG89CWK0rhk9HzcVgOJCdrnSYctTHkwgTSStk2fDYRRL3G47CiS1a/L6yFfEfNpnzm8qC66TvG50C2j7Vk66c2q7Xylt5TuwX4ecxi63yLFBHYnl9xAAg7DtBwW9cvndst9VkB4d4oMcfa7j2vedwNQSJLfuzGBYNqqFTfxHjcCQaH2XHl2VHNPuWAkxVcZWXREo1S/t+IfbjqFU9U372frky7CreOMJABgbmRANOeGI5RhfNfakZYW1UPp3qm+pyrdHWDU7qF4MPVPq8XR+0AvmqTStXuViNKf/HgXkxRtbCna6Z50xpS7+3yD9JiP8TadAntjxc7aUAwOlwT8fBMjQMZWiBW7piyWHgqkKXT5+ZBfgcW5bSThguy17lrOHwCu1RVGo1TocojaisKb4Fyk9HZjIPhJL54ujr2nFkiaVi3pykTu8Fj5LT4GQp2N8poFZX+2oghmQxP7xD8KyM4I5ZOUBmSg5wEepAm+ZtHYx1ppCPFXb4Vy1WfoujHvl++3VxN+RAD4rxxANyF0aoUB/zQ4uS0zVY0Kboye++eBqea941UdMVg6/LC+PO58X6tmeZg82sIKdqwodrRo4i8xzRwGNqCOF5Ozgwpv2ekiXvgW4XPVGjY0m3g4tpiBHd/ZCD5GEVA0O2L3Or/veRwhHIJPi3OF9oeK8/Awlo4UEId2hkvm5Pq5lXYNAGBCqdiepUypomZ5PdAnd+msbk3skxu2n4k+6DYfsgIh7InTe9WZhUqThUCSEdxnUFelkLLbrpptRDjQ37LBtaJpAxOMMVkRTim12DZ0bnbf+PpfQZlvdXguOMisQt0D+w7cIAoZnxNZTpov8c7v31XYU1Y8JETf0uiPXvmCvKMY91FoF2G963/l7DGoPJFDGOTZNafx5JWo5SFUH5WL3qgWyV9DxS3F2cs0jCvHc7dcX5k+9rBJWSgyn5dGv5JmTgzDk0lVEO4rIdJ3ky//VjEFXO0ZmMje7ROwfBXSJiShNrzOQ/lbT71AC7Ii8MFcGXVR7sAaSrq1FSTVtWry1micX/SrFeSFef3C1SQMiNnNsBtcsEw0/BhrGXc1GVEFTus7dMRxU3b7ZaUOBlCLtblN4A4ND8tOQFZ13RqPI8OdcuwGb/YhkiGWqdEfESHNK9/NTudwES7vU73YAedyZnsc3MIs22PiWhSc+Qcn+sadIxXdVW1vxu3djg+/tw5edM4Vd5ecosv+jUAQ3Z4GeBntiVrzdfLH2jpgMjcsO01ukuCv1/fLDsUCnKF1utLMR5GUbIMl0Bl8pgaxjmb7A3XlMKjRDQ7xvVntjOoI0ff8oEfk1Yt/CkZ6q10t5nbodv0ERjhEL0ukkYogygYgN0txkh5DCuAR4zubi1njLwsQp98nNabfwcQM7NobcKvTLibEO8SchptKV8nwlQmtpuxt/rU2gfPeEAAya4d6uvx67kapxYTOLcCyrLAGCQ3HhJCyAs8BUNTMVzni9d8vaqo6BiIySP2r/SNPRw4MJz3+xngsmsoWCDi2waJ+De0ceVBrqFJz21nxbK1rX2cMRZbMcVPMsK3mnszVL5BKcAGDnnc3lRjV16GbM3Ahb3PLLqZqea0CLtLA4HM4LXFIzrNDwaTedgIiLdzvTfCpjvGa9iIpFo3U/i+5hGzUZneQqwDcg+qWSUZLRZBc2bJLWRJocKlWV41tx2Q+hXnVLZkRDULYs4xYw5Fkklxm3hZZR9OgmjiiUN5p5JoBrOozZv+6nIu8UXFjm6sa8mNtoadQrweIHINBKgCBiZ7TrBQ8yjgyYKa7+nQynfqAtVQvN6gPTbBi0TwxhRqwa+32nI+pDGTYB2AJdGMJbl+qEOY6+IY1jNE5nCfXD2WLBlzF7dUf1nylJHnw3zvTG10sjJdooo9Wm49fHIAjsvhzLx+NqwOqutwQRn7awhTZMnn/OEG3f/fZhnOAB6U8oqWWdrneDPcZLVP3fyIe8d5EcSELC4vjgPz11Dg71S5A165wm7BYm6W8cp9nCNg86tzXkuoO6wsUXehzCVgadYpcxeBn0DtktPAS2qlAzs0DEqSqI1+PpNFyPzaSzhIpsDBQy0mDzUBjK9iuXVSxak0L+M/DwWrWcm2ju9QajnB9McziQQyZZGwySOvaPoV/23CCuAliNV0ErsrIBDFp6HZP4HXvJWiNs+Jo0WENATxG4PbqLVRDEdfOTD63XEaDxOv+5EBAFYTRn3n2E/lywk3xA3zZmZ9GebAtO1dkDeKvPOUDx9CqFKTpQvN1uzr8XhHqQRSRAyDfUGSa8oUoVVZjJk/8PgHqrwQ9tYftjbJvPyNNTDpli9EA/ANUfZk36Bot92hOTo61A3HkoGLWh77rUS2IMk9eWwvY+hGjLFCm7erGX9jl406Uq01TnkIqbj3T9Dzlwv4ghdhy9J1TPq62ucjEgwZa/rZ4NhsVzX5HI906/B8P9EkfBdsp5/fA113J47f6SBR9bNouxFledM4AnFQ9vFXbnKD9EFLraDV4PMRf95nd6si2y4Bc96I9/7Y8ougpSCu07qicVapjI1wUgRfTJx8kyMUg0F4HyIjRLYGqBOrxTib8X6wXcEUpGCsAJm72u72nNW7+2IDZPqA9Xthbvpg5+9Vh9mnF8mMYvQHu7PWVcYVdEJfZpHzrtzcWt5eCxFUUCg+UZmilGulfH7MEHB6aVdHo41vECQ4lSKJhiv9EBXrBRjKXOmhVcCFurjIvB8lyK+LDgAHh8vqnhF065UW76fJDnnA/IcSHQhNVX3MPKUE9tpniFCOtYEYSbIvEOdbL9OpZl/ghS85oZeXuRQP2Jy5I60Msx08jLm2SirmHG9jXClBmsdc3OrjEY5RdYZxQUR5v5G3U1hQQylZxvMj9fYe9N9/pLvQAygdZ9BGkq3XaPNivHcdYxgrBb0pZgl5UR6ok5LWpJY55l/f3uV+vVgvhGFvKvoR27gB8DrRU20cmjMfaxkBeX8Eatkglmk+ge0PTcjy3kiu/jBDdmP7OKA6mi0yq1z6xIS3AVYf3QgZwhnOH8aXQZM0oyGLkpiNKaSO1Qf+izu2teIdJjRQOjVMRzwt/mGrSvSThdJ0zA5FUh2wJhfOhxwTJcrSlPwl747bK+cVo5gRi6YqdWSaCsiKcCAfVUsW/Y2PWOAnHtgDslgYrHxOm3DXYrmKc2rlYuDm2PV+p4zABh9Zv0piOaUpd8uNks5XRwVvl2YbRqU+6kPZZ1IOP698IQdHCi0Yz+meIZpw82aAayJaBvkzfhyRh681jVp5SyAlu1s8kUmSgD7jf489MzWP/gVadm3njf6jg4XuLSojkVAxxAb9oYzF4WsZUzy0AdARar290IGyGKqzOlGoDEqXmULyY2ze+DeKJsUjOWtGwr0K0yBAA//jLWk/nPDscnbPCgSIYVu4kaCajUQ6MpoNI3SvgXdm0Si26OHbsJSHdy702gxwddhfiCvfLk1x9Z4w3h4wxHSqxbgxQUlOAiH6pq+lcUrOAiv1WIJSFfiaPfbStbYVAe31jjCKr5AUGmS1qG+7w0vXrGsI95tQtzDk17vSpY0zGYhmy3QCch/eUlvshKtqXqayk1Rvo5T9WiQEcC8Dcmjp7zCSZAMU/PL+KQqryCepn0Tt+CyGPpoh9xhsmASubG/9MssfAiKZ59leK4CRNtxi11J+Qtn2jUe4mTm/ROJwypr74hEQkyVFmxgZQtYJPsSo5BxeQH/hTBeR4LY2wIasF6PvCDifQvZpaa4Ia+kDJqYNN6DlpSbVGgYLkNUVYJ7IKgtMI3nwf5yV+JOppZQRWVHlv2s2aUh9rlKeJl6rQtiWTaXEoT+v4hraAescqI6w3YFI+x5Y/iMvrjDFIBO+eXOE61oxBOtRsBRLNGLCRG/opUL6RksR0blLaPfrNyxlTCymF4RLRgsWe6IHGYnr8W9rZlmxy5ZERKKmIxE/uxm5W6UUss2qEjpxuyi/CQt4IqRgE6s6rAtJsh7uv5+s5RuwtOpKH2gZpYJGX5ux6N3RN8xkKtro8HSC0Xf616iZIgnruJTY0ZOfK5aWwnH0o8dnm8U7fvS4eJHOjZGpKsM/lMYiE4+VnzEoFrK8NaECxLXxPO4ROlhtmlWNiqpeL8P/Sd0RTly3D0WNHIWTQkFT+CM844nmSGUyuYmmzVlXEDWhNkQ0QkTaUqjRFsNem16UoGj8IS6bBULcm38xIYCpyx4LDUd+OcTPu1+iHP52LOU9tT2hYQXwoVtO2qkulzOxUH1Ii7HUA6ZPuWeQop9wFv+QWUcniIY9Cwv6ISzc1a/or6uYNA+XDW4nYzg5I1B7w/A4H5/p1AEkwtCNYqK99v8+8tVgEVku06aI4p6tx4gXc3KpwUMymfWlSRVqZS1ShT8ktbwRLesaIY17HvIUuYG6iadrUCndbEUnRTt3tymAs9BzAZlFI8AoR5p1ZRuxqO8ITB2u6E8JVcETZ7RYxA1ykfd5tHg+q0zQbY/zsPkXqS/LsiXtD0StWiDmdusBiVbOKeNsGZYbVy0XFgH9xJlxEyd7Rw+6sQ0EYfGTcWQpo86Zpxl+s1egcCTmmtzDpgOYLo6MBcmoScxFA0QyoR2DKFIn3lnuXFomaA2QDPYOmvAT4qQJOf1FPeH1/dJrzFwiAFHs/EN/7H1X5xBC5ObFxmsrVCWIQ+mvv/bgokLTBKad8QJXav5FECSvjTodCdbSAIT08VP7vVTxb0aUwZiV/VONxz6r3q2L3GZcWig7qHUvBTLCzIrUEpXFWIpR1tncH6Amj80vI/Lh0GpR8p3xo4vbvQ+I++gWU3O+Hv7MR2JICNYLQRZZ79LqEqypTakp3ZVOiTtPHzO/MS/xITMeU0VcKsqPinBQSTf2RoZcvq+OpZhzueQHeRHh44W5GTAyI9VskLwjMkAtg9a9PjJOTeAAMICnsKZYbwMRgmACP+klzGSfkGb3T17M6D9VOEgbrMS3wEGtBHjqN3tecDH/gFhyTmuytiUdeL26M6rgD/0CdyVmq5VL3DCtgc/hvEhb1fpeqztthqDBIRfEaOGVIalOgCA79TM+LHga88dMRbJGudZEVcxiQxyTX/anHZRcOBxSX8lUMtkX3ZcSGK/aispDScYXp+Gj8y2WxN9xFZYmBcCc12dHJf0J9IhRi4PrZb8I7fApZWFMH5DplMi7MPZI5RLLc+4FU2UbENVJ7KG5NhAZ/djUkh/fGFRzIMitGN+ntkTZi3zlArMGp6P6GRmpQHGo93hrqhEqMYMfH+vWZGJqk6LUsrlTxPPSDFA7WCaGMkoZe+QvVYlY/enzs8LpwH2QKc0wC7DgwSlDU7D4wh803CdSg26WlAD0f8r9+4ZtrXaWFnbVncTUtF2YtbN297zGz+IT0Qzwp69d3PhPNUnKFDlPJX4pY4SzOqhPsdAcBBQFyolDJkwLBtRGhdfqyOsQj/r9DguHOIqXozq/mQzp1LOWlbNJVpEPJWHyyPqwFFdYA7hj01D16fm4jwHJzhEjjC8OZvkHhkc4qFlfFPjqNZ8yQltUcQfgBP93P9aiPozdXJInx2e/DzpBfC8vaLeyDTyru/nDiJFjtOdo3dfUeuvfpR8VxLNnjTPxoEYQotLK/cz6yPus7Zv+teN8Ra2a4P72m4Zf80vrStF9uaFW9Cn7zVRrHxPS79geArh4M6dS29YYWK+F10v479nz2/XNUsBDfYNlQeRoWXNnThJQ4e52uYSSlaR66CK3hfQU8wevoZtmewCfxMo/XN/rDabDTscfSmH7cCSWXHZz6a/OSlPT+1t1Tp7YiWJ6sjnn/DNEqYD0lNu5U3VlTIZKbgVS9ATIabVjMQQvTGD+4IQXyMv+irOXAF+sQ+QVYy6tIwbB/XGGhq0HwZ1IWHuuQ2G3TmAlWbbieqc/vYxZhk13AJEbqigLyG4tSO/LnexEC+m4BASLQ6KlR2jwH2UQTt7aIPCuVCcATVIucR0X82a54aefI4wh+edhw5UdQUx71twmXWxjuRb/w0UbvEnPO4Oz5QkFG/834mcw6UXBaaj7iWHPzOENr5E+PFgVJzQHZeG9h1EJf5ESTykexkK6J3WcmQY5Sdek4F8Ej4bOeBpw27MAMMc0RonRHkEnObezVc3+NUE31dd0OwR7T8CDisbGtD7581qGXtMl8Pp9LOaCxpkGSBdKFiWcRgONOeCTgwDg1d5FNHqmVVvJ6LybYzHmcgw3agGcHs59gLUvdjSpxGR/IRyi3V10e79URECyXZ7gTvfpr8bKZ9RpIq7anGc5afYmhefTDClP5NXPcZ1kcydszWIgULCpqoIVVxhvw5BFf0haAVf69/FLZ/Fa6FAr0UQHcMtXson9EyOLZmGGvMnUBI8YGU11oI/zoQs9R5eEQGMIN0xKhhKvCVQK61V9eK00PXStWwyp6SgsY6Nzpn2Da5L8L7DALm2lbzYfA53rW21N/oYEhYH+2qpNcTCyV3epvXUyITRQjBA7lyENQFL2FuHv5C/3V+fTR7galb8m2JO4kUBLhODKRz978RXzipKS8YzaVp3r5GNvJUnNK9O/+RhLSKrFXbQIj7HcNBLOON6hcjBePkd0UoRYyqB0GN7Grnshh1rVqHjSi0bm57w9vNazF3d2AU/WHX1CUF15np+D8mdgFsJfosJDjZT2huxupGKDT8cG1dGQzXK0N+i0FJ3wsdKJgTHk0EFkX1AEg+kXq3Qp7REHjlUbEtwBe7j7nEzny7km68lHb/yRofG0GknG6pdsD9qI0j6/o6Ig23rLrpfyEaMQWrAcPCTyeMLgkZsmDA+BIgTU8ueS1KgMoktQtFP8y926YGasbh9KODOU/fFKwPchs+RZe9FGcdKCEIkRpbnjd5B1jm5vnSD3xNMVKo22FZ3nlchVABgaYGJCnFDBk7Jz5C5K3l1+YUcSg6s2arZHRo4t0h5Bd+tNPBIo1HMvK278xz74Zg1GEmfpAGm6w1fQbdecybHU/ePdAB3d4OxyurQRGWiN6toFY3bg4l3VkjnK4YbMeo3IX7Soq6zeehL0BgKLEnBRHsdV04UdYGQxGgLna96AuWED8bkZVWXs4f15J/bgayggjDJc6YKx+KOXyEOyhrcrzAZ1wAdXKDb/TPA7IIcuRdjCG6W2BakuCAZjUabEFGkbMJ3twpy2Fm33+M1zmgojBXRjt6KNkZTxesfJuz8iD57VdN62kXpULvcMRwxX8LJBT0COJGR4bb5Mq6dlrU/Dpcg9mU/iCXV0K8oGSPejjq6nnHv+6eenEt1jjSVcnTuxXKRqQefwvjymWGdBycJe8V/+tv9cq6Rtz/lvifAV4FMe0ll+dPscyqsuNtmLOH9W21B15GV26LbybYg0GtRLunTD2mykdQNpn3GtoEcxSwGsq1rA3hhR4SBmri2UhAWr+Uuq2sYt0yb4KDOWXR/uB3xr5wvZYhanqB89f41Daavhz9Tvu7bVZQ6dsa9Vp5S54+K7dnr/sL4Db5VGOBte/XmnWNDlRLwglWCOCyNFzm2FBmFHksNjwJveWtY/uYta6r1b2wjcb3aRFX0Qua1stNSB//eOD4Cf/Prx5grmiYvub1nIxoFUAObvcQPsQo5a00OrCgHYNHXSpSCBN5GcAi9+g7as1WfhKSTIEk3q+LTuG9mM6alVlHZPepxgKWyXyypNuCVoy8NPdAVFCDBkwCfqMwwygCCr52xUYRwVdkAlsoMEhAkr64MpWCCKG8tRznw2QKOvm+9749qJSj4VLcL5JviVkKj5VVnSnVqRIPPj/aaSszSymTOnvRwl+HPly2Upfk/lVY+4s0GPyf1pd+1bqBU3TztNXxglZy+655/tjOSkWhdE/500xZzPlGLe8fm0e+wycxL60R8m8myXTVYmzM9jg9ftb4t/ak8sY6Uj5/u3WjNBx5D55VfsdzOsAzJBbafQ3HZ1bjB7Btd9lAdg3KGvtF5PhDzqy6UTW/d9pmruo4HiuoAoFoA0TIkKaxXj+fKviAaszc8lLFtN+y2+eTFV1adV4YKSgcL8ppfJl0PfTZFDC7DLgpasYzCPAnSS88tb8c04qyT3TwAq4S27q8rUZOQ1CuEgAzUr0qLTz6TYpDv+lYi8C0Bi0bCmXD87CJ/zeNQxXf1UeGXpjeg3ZDzIRle2ssXV6HhIAaAnX0W+wVAm6G2BeLNfBmU80/G1Ejwz0DRFAqDiReo0qdsPFRQf/UcoR2nqnGNunVKHAelb84TjUdNNJiNKCIoA35VmW6ZbVCFIZLEO8M3JjBlUhqMmMD7pgBvyM1m0m48awD3JXeBFaGLDMjWzWo2r6cyYysB2Ibtz95b8M2JvK8DEMzPAvq19H+QzEkV4D4fHWnmXDeph2y4vWGsWWjyS1OEML6waLP7Zz1RsuoSMSgWW5rcRPQ9lJI/6Ws5oqb9Ehhd9PTtdg+vaOcl1GGKlS5jeRaT+TkmnUlcWj1MOly9dVIsU7Y/tgteMaI9M0njVb9cS7t1U+NE1FhCAsDawBbddyBlgIoDwJbEqEMOciOHDkVdlyXJFsiRSzwLfqhntR6fvUbgIe43kr5DSZWeyKSqGOI8dGb/XaHvVhtZlmEw1mYkpv9mBZ7aFgoD23yM8bysRh6Z9QK4HbJfByoTDwqelCuBCmwXhmgedDye6DgDZyAwgjieqMSjZgEpCEktozlHblAkA0UCHeleWZDMzHDKvKvwd5Qy9fuKDkZtdd+joYy9rW8R3ylCiYuekylcXeuqmAgxtFc3BvH0dYlU5bPPJW9LwNhUBg09CGu2a/vifj2wwnl4lmT/1I6HcyOg5X8jLRo6qkZaspD/uKNhoO/oHO8ZuVfVU9/gBhRU9PNvVARgLiTAY20natdtHLAMpFA7RckammvKLZZ8uBuFi04NiusbavUFt9IeGCGZE4KR50X7H3FvqdcrnhP7vf+PJA1CKI2rBsy/XA3TPyhUZwY8QEnSv1rNancJZCaUh+L/UlWVH/BgFPxqW0UQZQNu3SxA4ZI1/Mew8WT1rNN1RlK4z4C4rcTF6T69BkPT54sVR1BZHjiUZO5FDLx4Z9CNHMRSZ/rF1D8VLJEY54vtUfjRiis57NfpeJlHd9fzARUIAkqSx5duD9jGR7Cmaysv5Oo5+dPwvSr+tS0uKLQbbaDWfHYlebHUFYdfaA8wd07Be8P4+2Tt/ev2vC3sABu0Q1P7RkTSaUaXsPaf2KZ5LupzI1O6Ui5APZmMPi6v7rP3Hs+79aOxIE/ciXTDUR/NdLeI5+FFlr83ZLyYalPv50Xtd2bHaLrzdfR7kd1PDdhy4PCLIy0pPsuPth2STRdhtMK45Zhmf2s5uVO86g8UU1dejaD4DnhhALyIQKemFNZOwGJ0WaisRhhJIlRADUV2TzDwj74lSgV1mU9GFxjLKnwVGJVxb7s/8aS4MllhjzLXFvuz0gjcGr3h/4WfhlJv4HwiYn3ciwhLcX/EU6DSVxkdWLgCpG9m0mirWZ2drG7aSP5owJe+C3E1Okdm2nH/PxLiOUfv8aJpYy9vnAidCSBINZPnnQBOb9wFO89rTDXvWb24QJrVHMm/PQ0D2DrylifGQXIg7pwJmzvFg9O7HKqp0wfAkO6tMdO4C//CxhoAIV3jf4qdkzthPNbAIZnIVJ+Gju/XO83FWKSbj9PIyMIk2E3zeqTLxtb07T2wQgT2AE/9fOUoMp2DBHkbP9efLRn93e1c920YQIh6pZP0rpRPpr+8dOhruX8A3bDOQqw+HdwiyWQMImzQJeobpwP1vcfC4Lb4wQ4dNU0xfZUVwy/Ylr0wXciRKGA/ccEyEs4Ll7Otna+XX603tsYRE7dA2fJLnNh+MUwGGC9EYysWIyWAa3dCrYos7cOdrfq4nnCn+kuiX7M93P1L4Ll3IaeM34ailq4ngIxQgibWFRXspUChp1pareh9E6qMpRn0WFEiCzG09F00hpck/Y8Q6DG7ACjiRlZG8qUySsY8rugVptzI/1rd34D1Gr2tOnZmU5dImsAymfpOcJpWLdkbKqihMVCuFbvjQIMTg0XLUEQjUA/tRkUrdbiA3r4yH+dNnY3xhLAElabh9lyq9eimsq6mgrVQpye9cpuNmpeHInTZ5SxAo0Uw28C6APgFGlsh81hxlvxi4r1z4iE0IVBsn5LL56wGg22lqEHg8HmlrMeAxIYp4TeiTZBqaZCc2mh4nkPmh8tIISmOa2ZhdDV7w/FdsrtDg/xPT6QdRxgWfz3F/jbX/4/FVVhNhUzkj/SiARMd4ds1v+m+uULuYwGXI00PGNv947fGMEpNgXv+BvhEiZM80gXwfVpE382s/xCWwjgfJrlRC8NVnmolnTBP7N/b7LKtN5M2OelGjX0A8nqSUMO2sFgQBuqZMrmPGj0m+0+HA2Wm56ppNQiSuFC6UfQzpFnzZJLAd2fBaRKXttWHbk6u36hsVYvUog7rm7ylkYE5yaOdpuP7qqfqeuWrBNyjoAWWeR5SAIP1AMmId213KfVISpzImn/DyzoIfzdoCV3ekPTMfw6p6LlkytXzKfL2hmNxP6qrMltzFN40OzNN4dbaQPGGrtYaKXIhmjKTskfqhfnlQgHoKrh4SkjQeDQBxlWI4NrOEZoHwIK3f19cz5W4vr5KUKHNwHX1w+eqIf7/T5A+nvZRl52oZarVdY4yuF88GEDaMUsmIBzchDTMFT1PWGWrw4CDiG3yzFH3W2wtDWDZGdyPfkUtihEn5iDmp5lB1ryG3BmhiS348qITZnLaHA0Buc/k1SJIdmv34Cql5FG9xQBw6h+GcX93fpcQAOQ79ksjPhzdxUNk/n2zpgY6NnJ+Y+GzpId+zIfRykjTEvEmgMC81acUOrFfCJxjuBeTnVQ1oRu74wMwTisadfe7UrlptRK4rx9STELyrCVwxtovlW5gbmCYFb9rOljTG+/XKaGKNi0zx9U6NxVJN2L0EboEkGzUwJ3vNj9piR2pSCm+Dx48z3U/QUp+NqTOSOyZs/46f9TKk77N3oLn04eu/UAWkNwUBAhbr7OkAD+SMnaDzhif8TUnRaNgiB3Wuo/RXbXcbfHbQBNRFm/J2sKUZ4QGqxx+JhkppW3WoEav8A7QGpI3gfQ2XsD/pJ09xQBeVTcaspDB7So8O4NCBi4KHI5TWE4hYhbM0aHIaHLGNB+QAb1rUZLkCZiJb28gmocvgXomLWvMkPEiLLUZVcFvroMbfObnY1ORVCYhX1NyumIaWpCS2tzUgmjDFlMRCdaHY/XXr1ykRgBag+3Viczs7KnbKZdmIohdsrSwqRzzZPKPeDoATRYVh+xIMth/NW2atg468cCuM=" title="Mekko Graphics Chart">
            <a:extLst>
              <a:ext uri="{FF2B5EF4-FFF2-40B4-BE49-F238E27FC236}">
                <a16:creationId xmlns:a16="http://schemas.microsoft.com/office/drawing/2014/main" id="{D2C4000D-18FF-D1F4-F107-688CA71DEA7B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339344" y="1414549"/>
            <a:ext cx="11517694" cy="4641983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/>
          </a:p>
        </p:txBody>
      </p:sp>
      <p:pic>
        <p:nvPicPr>
          <p:cNvPr id="11" name="Picture 6" descr="La Croix Sparkling Water - Wikipedia">
            <a:extLst>
              <a:ext uri="{FF2B5EF4-FFF2-40B4-BE49-F238E27FC236}">
                <a16:creationId xmlns:a16="http://schemas.microsoft.com/office/drawing/2014/main" id="{6D8053CF-8010-6FB9-6A12-CC2A3FF8A0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195" y="5738367"/>
            <a:ext cx="630241" cy="31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2E65E8D8-F5FF-40F1-342A-BA7FE09949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622" y="5680417"/>
            <a:ext cx="676347" cy="402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7554B49B-6EC0-19D3-8D28-5FCDA2171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273" y="5722737"/>
            <a:ext cx="745850" cy="33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topo chico logo">
            <a:extLst>
              <a:ext uri="{FF2B5EF4-FFF2-40B4-BE49-F238E27FC236}">
                <a16:creationId xmlns:a16="http://schemas.microsoft.com/office/drawing/2014/main" id="{A1BB5ADE-0A4D-C58C-199C-AB59FA7A83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8323" y="5753022"/>
            <a:ext cx="951068" cy="23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6" descr="Spindrift Beverage Co. | Nombase CPG Company Database">
            <a:extLst>
              <a:ext uri="{FF2B5EF4-FFF2-40B4-BE49-F238E27FC236}">
                <a16:creationId xmlns:a16="http://schemas.microsoft.com/office/drawing/2014/main" id="{CF282487-961C-E1FC-C8E1-84A03A555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2104" y="5767122"/>
            <a:ext cx="902631" cy="244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9C81E686-5022-BA8A-72D5-AD83531B4617}"/>
              </a:ext>
            </a:extLst>
          </p:cNvPr>
          <p:cNvGrpSpPr/>
          <p:nvPr/>
        </p:nvGrpSpPr>
        <p:grpSpPr>
          <a:xfrm>
            <a:off x="9163132" y="5684791"/>
            <a:ext cx="638504" cy="446272"/>
            <a:chOff x="7109584" y="807578"/>
            <a:chExt cx="580458" cy="4057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D06FA94-0518-67B3-1030-52DD0CB8E20C}"/>
                </a:ext>
              </a:extLst>
            </p:cNvPr>
            <p:cNvSpPr/>
            <p:nvPr/>
          </p:nvSpPr>
          <p:spPr bwMode="gray">
            <a:xfrm>
              <a:off x="7109584" y="1087573"/>
              <a:ext cx="580458" cy="12570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b="1">
                  <a:solidFill>
                    <a:schemeClr val="tx1"/>
                  </a:solidFill>
                </a:rPr>
                <a:t>Polar</a:t>
              </a:r>
              <a:endParaRPr lang="en-US" sz="800" b="1">
                <a:solidFill>
                  <a:schemeClr val="tx1"/>
                </a:solidFill>
              </a:endParaRPr>
            </a:p>
          </p:txBody>
        </p:sp>
        <p:pic>
          <p:nvPicPr>
            <p:cNvPr id="19" name="Picture 12" descr="Polar Beverages">
              <a:extLst>
                <a:ext uri="{FF2B5EF4-FFF2-40B4-BE49-F238E27FC236}">
                  <a16:creationId xmlns:a16="http://schemas.microsoft.com/office/drawing/2014/main" id="{9D11A3E8-8B61-CAD8-BFAA-0A4544D0DF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3671" y="807578"/>
              <a:ext cx="323665" cy="323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AA2E91C8-F249-47A7-871C-BDC1A3B12C4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" y="944428"/>
            <a:ext cx="258172" cy="257443"/>
          </a:xfrm>
          <a:prstGeom prst="rect">
            <a:avLst/>
          </a:prstGeom>
        </p:spPr>
      </p:pic>
      <p:grpSp>
        <p:nvGrpSpPr>
          <p:cNvPr id="51" name="btfpStatusSticker154879">
            <a:extLst>
              <a:ext uri="{FF2B5EF4-FFF2-40B4-BE49-F238E27FC236}">
                <a16:creationId xmlns:a16="http://schemas.microsoft.com/office/drawing/2014/main" id="{C7110E86-14CD-A2AB-DB0D-E394B07BD61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555320" y="955344"/>
            <a:ext cx="2420344" cy="235611"/>
            <a:chOff x="-2939076" y="876300"/>
            <a:chExt cx="2420344" cy="235611"/>
          </a:xfrm>
        </p:grpSpPr>
        <p:sp>
          <p:nvSpPr>
            <p:cNvPr id="63" name="btfpStatusStickerText154879">
              <a:extLst>
                <a:ext uri="{FF2B5EF4-FFF2-40B4-BE49-F238E27FC236}">
                  <a16:creationId xmlns:a16="http://schemas.microsoft.com/office/drawing/2014/main" id="{14398A7A-6486-5102-6976-63E6AEAB2505}"/>
                </a:ext>
              </a:extLst>
            </p:cNvPr>
            <p:cNvSpPr txBox="1"/>
            <p:nvPr/>
          </p:nvSpPr>
          <p:spPr bwMode="gray">
            <a:xfrm>
              <a:off x="-2939076" y="876300"/>
              <a:ext cx="24203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parkling water</a:t>
              </a:r>
            </a:p>
          </p:txBody>
        </p:sp>
        <p:cxnSp>
          <p:nvCxnSpPr>
            <p:cNvPr id="64" name="btfpStatusStickerLine154879">
              <a:extLst>
                <a:ext uri="{FF2B5EF4-FFF2-40B4-BE49-F238E27FC236}">
                  <a16:creationId xmlns:a16="http://schemas.microsoft.com/office/drawing/2014/main" id="{71C86EE4-08DE-26D6-FEE8-B84DA1D6EAD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9390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23129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59D4C76B-66ED-BC0B-2FFE-5F43CD477F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D4C76B-66ED-BC0B-2FFE-5F43CD477F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91186A47-9438-9183-CAF7-851073E6291E}"/>
              </a:ext>
            </a:extLst>
          </p:cNvPr>
          <p:cNvSpPr/>
          <p:nvPr/>
        </p:nvSpPr>
        <p:spPr bwMode="gray">
          <a:xfrm>
            <a:off x="2214168" y="5875681"/>
            <a:ext cx="484549" cy="208813"/>
          </a:xfrm>
          <a:prstGeom prst="rect">
            <a:avLst/>
          </a:prstGeom>
          <a:solidFill>
            <a:srgbClr val="F3EE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5E57ED-33BD-3F76-2CA1-DACF6BFF758C}"/>
              </a:ext>
            </a:extLst>
          </p:cNvPr>
          <p:cNvSpPr/>
          <p:nvPr/>
        </p:nvSpPr>
        <p:spPr bwMode="gray">
          <a:xfrm>
            <a:off x="6831153" y="5875681"/>
            <a:ext cx="484549" cy="2088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B1D0D4-064D-A629-9E8F-E6AA4EA83245}"/>
              </a:ext>
            </a:extLst>
          </p:cNvPr>
          <p:cNvSpPr/>
          <p:nvPr/>
        </p:nvSpPr>
        <p:spPr bwMode="gray">
          <a:xfrm>
            <a:off x="3411101" y="5868291"/>
            <a:ext cx="484549" cy="208813"/>
          </a:xfrm>
          <a:prstGeom prst="rect">
            <a:avLst/>
          </a:prstGeom>
          <a:solidFill>
            <a:srgbClr val="F3EE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7CAB0A0-91F1-0B4C-A501-6FF242A7F8BC}"/>
              </a:ext>
            </a:extLst>
          </p:cNvPr>
          <p:cNvSpPr/>
          <p:nvPr/>
        </p:nvSpPr>
        <p:spPr bwMode="gray">
          <a:xfrm>
            <a:off x="7945899" y="5868290"/>
            <a:ext cx="484549" cy="2088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B3C9313-01CE-D43D-9F9E-259559C70D68}"/>
              </a:ext>
            </a:extLst>
          </p:cNvPr>
          <p:cNvSpPr/>
          <p:nvPr/>
        </p:nvSpPr>
        <p:spPr bwMode="gray">
          <a:xfrm>
            <a:off x="9132318" y="5875681"/>
            <a:ext cx="484549" cy="2088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3022E89-FE72-E451-D7C4-7B8EF204F6DF}"/>
              </a:ext>
            </a:extLst>
          </p:cNvPr>
          <p:cNvSpPr/>
          <p:nvPr/>
        </p:nvSpPr>
        <p:spPr bwMode="gray">
          <a:xfrm>
            <a:off x="5664968" y="5868290"/>
            <a:ext cx="484549" cy="208813"/>
          </a:xfrm>
          <a:prstGeom prst="rect">
            <a:avLst/>
          </a:prstGeom>
          <a:solidFill>
            <a:srgbClr val="F3EE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69DE8F47-791B-FAB9-DF2E-CB9BC65D607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592198">
              <a:extLst>
                <a:ext uri="{FF2B5EF4-FFF2-40B4-BE49-F238E27FC236}">
                  <a16:creationId xmlns:a16="http://schemas.microsoft.com/office/drawing/2014/main" id="{E7678B07-AAE6-F79C-9353-1F522223E06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325655">
              <a:extLst>
                <a:ext uri="{FF2B5EF4-FFF2-40B4-BE49-F238E27FC236}">
                  <a16:creationId xmlns:a16="http://schemas.microsoft.com/office/drawing/2014/main" id="{30907750-0885-4B60-2D64-AF4080E85A9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2" name="btfpColumnIndicator853481">
              <a:extLst>
                <a:ext uri="{FF2B5EF4-FFF2-40B4-BE49-F238E27FC236}">
                  <a16:creationId xmlns:a16="http://schemas.microsoft.com/office/drawing/2014/main" id="{25DDC048-7B8A-096E-1053-C120FA64B60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293815">
              <a:extLst>
                <a:ext uri="{FF2B5EF4-FFF2-40B4-BE49-F238E27FC236}">
                  <a16:creationId xmlns:a16="http://schemas.microsoft.com/office/drawing/2014/main" id="{32F9C6A7-5EC8-4489-0110-D7A71C8EFE2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B1964F05-16B9-A130-5DAE-13CEAD8F72C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987724">
              <a:extLst>
                <a:ext uri="{FF2B5EF4-FFF2-40B4-BE49-F238E27FC236}">
                  <a16:creationId xmlns:a16="http://schemas.microsoft.com/office/drawing/2014/main" id="{2A351044-ED13-5010-1E6B-24CD8CF73A4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115644">
              <a:extLst>
                <a:ext uri="{FF2B5EF4-FFF2-40B4-BE49-F238E27FC236}">
                  <a16:creationId xmlns:a16="http://schemas.microsoft.com/office/drawing/2014/main" id="{E937C946-FFB6-4EF3-144A-C4142EA7F26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538028">
              <a:extLst>
                <a:ext uri="{FF2B5EF4-FFF2-40B4-BE49-F238E27FC236}">
                  <a16:creationId xmlns:a16="http://schemas.microsoft.com/office/drawing/2014/main" id="{258EA3DE-A825-64CC-C064-65D57A3C3AC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133433">
              <a:extLst>
                <a:ext uri="{FF2B5EF4-FFF2-40B4-BE49-F238E27FC236}">
                  <a16:creationId xmlns:a16="http://schemas.microsoft.com/office/drawing/2014/main" id="{17808599-B837-11DF-4386-216627932EE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172363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2234641713854426 columns_1_131849694517761216 6_1_132288352405399507 9_1_131849694513342530 25_1_132174689622401488 16_1_132234637570445797 10_1_132298120093994249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"/>
            <a:ext cx="11526837" cy="876687"/>
          </a:xfrm>
        </p:spPr>
        <p:txBody>
          <a:bodyPr vert="horz" wrap="square"/>
          <a:lstStyle/>
          <a:p>
            <a:r>
              <a:rPr lang="en-US" b="1"/>
              <a:t>Digital ads:</a:t>
            </a:r>
            <a:r>
              <a:rPr lang="en-US"/>
              <a:t> San Pellegrino and Perrier lead peer investments with the most diversified channel mix, yet have room to improve efficiency by lowering their CPMs</a:t>
            </a:r>
          </a:p>
        </p:txBody>
      </p:sp>
      <p:sp>
        <p:nvSpPr>
          <p:cNvPr id="55" name="btfpNotesBox852275">
            <a:extLst>
              <a:ext uri="{FF2B5EF4-FFF2-40B4-BE49-F238E27FC236}">
                <a16:creationId xmlns:a16="http://schemas.microsoft.com/office/drawing/2014/main" id="{8B9CCA1E-79E9-E7D6-9F25-97A327960C0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32234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YoY change: May’24-Apr’25 vs. May’23-Apr’24; *Cost per 1,000 impressions = CPM; Display/video ads are programmatically placed ads on websites or fixed buys/ deals with websites to place ads for the brand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 err="1">
                <a:solidFill>
                  <a:srgbClr val="000000"/>
                </a:solidFill>
              </a:rPr>
              <a:t>Pathmatics</a:t>
            </a:r>
            <a:endParaRPr lang="en-US" sz="800">
              <a:solidFill>
                <a:srgbClr val="000000"/>
              </a:solidFill>
            </a:endParaRPr>
          </a:p>
        </p:txBody>
      </p:sp>
      <p:grpSp>
        <p:nvGrpSpPr>
          <p:cNvPr id="57" name="btfpStatusSticker135758">
            <a:extLst>
              <a:ext uri="{FF2B5EF4-FFF2-40B4-BE49-F238E27FC236}">
                <a16:creationId xmlns:a16="http://schemas.microsoft.com/office/drawing/2014/main" id="{D1B5A81F-7A94-7FB4-4256-B7005CCD607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15" name="btfpStatusStickerText135758">
              <a:extLst>
                <a:ext uri="{FF2B5EF4-FFF2-40B4-BE49-F238E27FC236}">
                  <a16:creationId xmlns:a16="http://schemas.microsoft.com/office/drawing/2014/main" id="{B2249B27-3EDC-6235-C126-1D70173344DC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6" name="btfpStatusStickerLine135758">
              <a:extLst>
                <a:ext uri="{FF2B5EF4-FFF2-40B4-BE49-F238E27FC236}">
                  <a16:creationId xmlns:a16="http://schemas.microsoft.com/office/drawing/2014/main" id="{222C25BF-DFEC-A2C0-5DFE-95EAC13D3B1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AutoShape 6" descr="Lay's - Wikipedia">
            <a:extLst>
              <a:ext uri="{FF2B5EF4-FFF2-40B4-BE49-F238E27FC236}">
                <a16:creationId xmlns:a16="http://schemas.microsoft.com/office/drawing/2014/main" id="{BA903C1C-5C96-0D0D-92D2-6BDA3D748E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AutoShape 18" descr="IQBAR - Keto Protein Bars | Vegan Keto Bars | Healthy Paleo Bars">
            <a:extLst>
              <a:ext uri="{FF2B5EF4-FFF2-40B4-BE49-F238E27FC236}">
                <a16:creationId xmlns:a16="http://schemas.microsoft.com/office/drawing/2014/main" id="{ECF4347C-64D7-8ED3-F31D-3F9A5213A92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FD31C-43EA-C42C-1EE7-FDC7EFF673BD}"/>
              </a:ext>
            </a:extLst>
          </p:cNvPr>
          <p:cNvSpPr/>
          <p:nvPr/>
        </p:nvSpPr>
        <p:spPr bwMode="gray">
          <a:xfrm>
            <a:off x="4581471" y="5872754"/>
            <a:ext cx="484549" cy="208813"/>
          </a:xfrm>
          <a:prstGeom prst="rect">
            <a:avLst/>
          </a:prstGeom>
          <a:solidFill>
            <a:srgbClr val="F3EE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7" name="Rectangle 1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qGj9ORi/EaBjXhptmFcMDJT+q9GXA6qm+Mbi6vxTAUD2XUGt4SbUMuWJ9vlduointcwMlprPMCK3tY3BhXlvQw/eAa5IY0GFa+GjdLIRChI9Yt+JXyXkn5S3+QdDQYg+Qe7+csNq6R8KnZSFzsLz0m9/IBUcXxycFGNZINoUYTU2Q4RTTS0pMCZTRJmvsxo6VwhV152Y4eoGp85aVhP3rT7O7dvQuU/Y9nwDhhBznJYglnMaIXr7VALUJ2GPMoGhYYaxDnPbtT9/dHYbL093I5nK+UmQ4z+nQdTnzQCVXYFNIUkrY1U2p5sf8Xec6JH+XFX/o3ty+4/+aO8lpZNHh7UJpvJ10DrHuBSUED5wbiFfzw9GIbvDYU0Vtd0R+d+sDJdfx/ryEIy/UelCZFlG3XouMd6t+9KWjU5zx1Kkk+Tq1sHprwy84Uh9YS4qMyW+tHw/vpWBdqacriXseicP17G8/mX1lT+fk1pLucU48U3K7aoQ+iCVeoYxZtFs3Lcj9DgLaN95BQY8uLhM1yYwr6qea9L3A1Qtu0y1hkqHHQ6WOKUbUmJE8YogbPZl9lzFGSm9nBNcr80pLiLiIYKsbxdBZ4GmYmIEnjSa7TW/scz4Oh0JNbZg8Of8V3Z6xrKMQ10iSuvNs+ByYMKo1bxOkKKPiIHaFexqRTTqJbPPOA0f6xlHXo4FC1H7BLbdwjkJnEIlv8pgaACy6/q9/1ZAxFsTCUhbztACcVs9bijA5lGTNRWBfWHtZai/4si5znVgGLYsLX2cEpfMZk6Of5ttRNXCjzIy281sE8ecBFd5oXU6Ls2/zdi0pc1Fh3xR1sCjZ9Nn91hYl8QFYyo16hkoryE72DawZhx8ksK5URfVvaOt9QXx9Hs/YMlrFlkJnQ6+yCD91hYGIDmJ6c3mxAcvCX2qcqA4gVId1gz2mXX8DZ/fzO8ep6g/l2GEyAhb46zHGJEXLaZvqMuuwalsieKFKrPVmWi2lCH+jhLeYgyDt97GYNyl96r1x3ji0JST/HIx6JY1Mj/f1qs/3I+ylW6OTvVahrd1GQi2tQM4XfRpeu8XjfxqAwo8S6W8knIcRAHCzxH9bMtb0TiF239lF59M49MZcT8QonBOhdUlUTFs7Swd1yffLDXO2o1FORnfmnxp7FrLyvXFHA4aAtG4cx2efDSmv+v4fsF9mbBGcA/aAjtwEmJ8QPPJyKMqnEjjhIKWXCCDPpYjI2ozl7UmqBtsREYH8m0sZ2Avcf8gYu5XGRJL9TCWphIhSTdI/exKKBLT+abdx1+QR5OehSFZFlNyLqEsbf+vgdRjDfaj3vYPqRgAaINPdl388yWY3Sjp3Kv4jjmS+QwR9xy38yOnD5H70BPg6Z2Qv7cNOEca3C+2R4ogm105WU0bHokl+e/E8mRGd5WjyL88g5ENWgpaqOT39jdqdV6UnP0Okiac/iv6fdVYurbAt99Q1sDTjwwKwLzzwSg4BpJzKXWkUOvqNo6ZpS/OKzegTYTSM3kud3XXwl7UzI6w1moaEteRVlaMROzsapF8/KNAu8oOybQfoIcYnoFlxudaxQoIKW11xNgrHb1JLPbxBk40A9xfzct1ssSSsq6B624g1ASHsQ9o+QpMi+HdsjfSAnI4/Wa+j81vVcRiPwsUZgL218zBX0P0LfAJGvg1oFiCfZRXTQJUnLBCcodDcECF5qOH7aWbVBt6hAViIMugHrwl6WBfTeU4lJHF8rxSZLoYNkCx5OY12L0HfWy2nfBvqQ3wzaXwrhNKmrlJYOA9Dtyd7YC1Vjl7wxGQb8YpblyOIouNS1lrZdJGEhfhvbAXNIs4GtUUMeQFi/K+LjKngF3oLU2i0miIkksO3LuutNIg5arIssbW1dV3OJ5G2zp6V1VsVkvc88jvB3rgnaA1LqhtcbJcREi27RS3i46I/xAMgwmApOEESccsB1bZnwfiOmIbJXpN9P1QdNoIhh6BWtDo6Q7d8A68HydsQqYjxm99fT2txpF900EEMU7Y/pZ/a7LxBWPLaDLF1ZdHtvzb6a04FOZTRqJOwsvvIr/F0qqplOKsYeI3vvKlVOCMxVGQNWwbLzl9dbpr8gcSZTLD7fRI83hQggA1OBjhmsKkL0a1HTH1ANJButQ+vYW52B93F1rTbjWU34FG9sk3BeY9EAsdiyZtNA/PrIExL3+ZzBYPzOWl2VXOS5kTaM5pSPye5etbzaN/dupdrbPwC7HLGhtogfbBuV2DptetoESWt2g6wn//Grx7NTihSwg7sfLNHsGb/mrL+fQqeaYMXVv34E5HVUJNTJqOmBXf+hgt6uCtH30x5pVYxRnTcLN/xXTqLU8IQHt/y8c7lPxR0YLwttj71m9/sJmoJthHqxM9B/rSLz456Rq2svByGcAGR3MtK9qFF+j140AiBxAtOUHQvIU79s4wEZjjHr4UFbubz+czLZormEDLCbB9hmDCbi8hn47aYwL5YSPkWrTqllsOLvh4EBxL5e+fSMjZrgYv05ZR4lLC1IE/TQuatW5gOHdHbXmCRZMTAXPXIuwuTE5zQBXLGv/S9sUq9OSX7Mgw/1WhYDkJg7z865wJ5fCG3hRGAs7CCjWG+lRV239qMyTI3YODYZFp3TDI28D4YFEXpBZGIg3On5RuA+7fDstLNhL2r/RATy//6YggCIs7nD5djhsGu0uKC3r1y1D+qb5ZLHKmAPbQrKQV5xZ5AlihDQ8xVrgaQ4e6pz8td4Z5mAIueRb4nAvNVvoaBnMsUS+9vIqbyh5lH0v7VUjc73qr2sJq7by9PXcJDox/rUWi6RBBYPF0Z/pKMhhpj6nyZ1mYlp/7++AODKGCH7zacYWotfI3f5iWzPh33JKsbsCbP9F/cElnF/sd3WgRZVoGCDg6H5dQRYXpjUY2CZ/S3Yf9R54P9VfurLTmJFaN/+54RFCUHgDHqAPFCoZa5dhitC94wc5L2J0VRnDg7suomInyCzR+zL4XcpEHF9qkQ8ub9ODlSCf9CpmATpM6qkZ0JBerjjPjWlGoaWYxLRqRqCN8QACfIG/w+82rTC5L4+Ioguor4SkGlgTdh+shtz2pkSjeFjH0mUwnakeLlLDtu/cwTFEguTJc6prvmhx5gj/jwzRkXINuVCD24DqwS9Fa7qK7eW4chWxjc+JEbFYl+Vj7/1RZkis9Kh4AW5Mvtrc2P54hOii3uvbGQjtQO+cWqjZNbFW+khqtEcQ2klSDixPpDKRsUxzvw27MFyv8gk0aNFbJxCYSkHPsHfIYXS/Fh29rJ0N+lKuv8mo/jMKi3lJGXxehrornQ0MsOPPhwElta3ZarQfA1Wcf5ADwNtdTmTYPgloIulWkXQoRDx7uilVM4M437arxLUj4VsnmS6n7BNnhZsScfqbOBawgzYlrW+hOV904KqAsSfZmLGpCN92fMIezyvx6NyZCFcqOn58kSdaF0V5caJdNgxR6ICEsBth4ENX86ogOrBhsak2nNV4IN8IOXucbNee1sBzDrLcAuJoXdORuFUkGd8tt5PpeBB+qbU0tIML/m5rRgvEpIF7jaoiZiQkepqkzF2jeH6lOeDy+M8Sok5KytEr+eQX8UioQZHG9j9MMQoVqwgCWVnNBLaLlHca0qaTphP35Wv0Vlvs+HJrnqixcpPN6TNqC/xmoJ9wbuenlGdRI6Ena6IYdSQLg0RWhQnMuMGYsqFpT71usWfWx3vhM66jWCS1ok/Solrri4+CfJaOdk+ZbDD569DsmBrtNuQOmew3HqiOqp+9RoMgfFOP+DtLvmSX6ZgF6gvg7qOl6f0xt1PnoJi46RlSKt8Pm9+fx3Edh7oUnLjs+7QRxSbG7kCTmSyieoSHYdCofVre+YRpNsZaYKd1s3TV42DhYQ/3MYH2NdJlZxoE/6b7ujt2VREMg/W234LFtCqtauxI8hpc/XW22PUvT7GzLF/s5GhWFU109XOFR7HDr5DlUPZlumZjNxJu30La+VIkGlPJqKrphv8pp9AG/03F7NPuwDX6P+Fpn5HO9sIlqO7ftdURyIZ69h4TXoCBx7eJbBUE/WmGcXM825cv3gng0O+IDn2iI2Ikq+7PANMTsgRCyVEcg03qH605itVUGuVFI07/Dc7Mq8tniJdmQPNyM5eJLKSQ9A22Ibq+hwVmKM3rf9g1qiIuFxffkZ6jxY/HmJvrnp1NOXjtVxbui8bVGOZserG+RbXcDG8TT4w1sZkmsF7ZEXx39A2pSLBQI34jSQwpnQxo/XQG0yQT3r97CHMz5KZYt4/YewHPKW4fwwYlYypBESypJlsd3RwAEmscQovjfakyyJrBajWex6oFGTTlMPB0Ubqdk+14+gACENq91jjVL6hOy1WVE/DFn5rbCW1qNcIO/PR8pfhHSAdlBPh3rPMmgBcuCksBlQt7JXpZx4zsQxoclW4NOl2rFIxtQj+t8qpBB+gfRnfXpFDNKeVkGUgtDHSkd4zkbqPjvNX5P0/Q6XqEc+M3DNotMhECm4qTB+CW+dCR8be0oYhmvllJIGdcUqWKQQN1Ctuv9w0Z7R7te9W9qsVt8H5YDNX+qOqIhoy7FEasvmfNPplssfAZG0hCGuBfEeuzeHNNaqcxtJ9HNPBZhbpRb+cXYbWPOLmTULp8tz6Mr7WiL1b6zKnPlvAnkKLn760Fy4r2JszQQizJlxQ7dwvin7mQphxpGGr59koOpUmI2Uta7ikLC0UpLapjQjBbRfA2KTxdJwwH0ZcjWcunV8UqqmjvZ8+5AK0YJ5iFzpAP+kXanYn9yjS48nQ8FP5SyIMRqct7W2q0uxwU9l2a0W3LqUO73gEcOSxnmvm1V4tzT3kX2+FWu49Vw20QrzwfAIi3vAZdxLpETD1bqfaRJDgJAMlRbicWcxHo01ddSDcSLk9B/4B2yBcNRZZtmnG9mvPMF+F7rOh/P0QS9MJTv003jVQc02J7BjbG3Ricfi3AQMcPxw8kNPGuDzaU7rqsbyz+Pe93qSV7cCE6/P7S00bx6d0gPfmlxXoLaE600rK75UVqJoqzqX0AAXn3zYAIvPINX8ZJ3bDFWxY7bQ21EcrZuM78O9E6xEarPTJ4dCoAaLC7fVUUVbkoHn+1Dnx4W/d0Q1KvS7DQeHDRqwvZei6yEt3ymXElWEDbBd2DIeYmRy6kQbZypSeLBPeErx0EVLzsZ2zXU3GWW7vADZKeuJl/WiEZGC/9LdecAptFOhLkMsG/U3eq8Fk5GYdJSRRQOaoamkEIXZEXaGHXkkHd5pCAO+tXT4dJIAzHWuDAMN3qrUloyPa2/QDW8tK35MNBMfX3/Q73WDVJtYTmaS4d/DGXCLGZHbMWCXe8/zZ799yn1aTNOJ3nBCA/aoIxpfccu95xl+CbodIUT00hKoWN1iiF8z4H/NSX7XLnRHZFOzz4UnBW7XT6d2fO6RXrlyWnjy4+9J7hy/25GwuJKCVHero6V1hStIQ060J9YGskQv9HOsI4Wod8AkfkbZvla8l4LArWsv39ftY1wZt7S4cXdI0Tzb2ktVI8LDIqx22fPsQc7EUyNTUyXsg12xE3nFf9slLQrQcNGR84NPYNz72FbUq9L1K3WPk8UCOnb4MjcECGbBZxHqlvQS42qj5HyvQDiaUvPr3dcghnQlCcckY2G0ELUrzvkqKhbrLiYxmgERc0bxCOJY0j94rG4N8EwejaRUIoHliS6X6GNHeF0poN53wvCnUyTzSx34tmMnG5zPBIr3epVceYFSreUSBP5HGers3X4cGnKYCOv75nSImLKIGy7TRXpGILz1TLw0hRaRNrgwKL00ifTi/Zwuw3nn9SN+bJH4huVVoeq8ziG61YsIdaBwHMuw/StxuHjbHsIu0tGhZeLhO56z6cMf7ZlsABO4VMQGADZUb+7/DKeOnd4SL/dNpoi8Dug2ZzrBlVst2ravPklVlB2Au48Q9f8Zkx5yeCmPJznDxdnSbgcCt4nKV0s2SnDNT9HcrHaItZeduoKyKWkuobZ910qUFUImNwy6Xpc/gMtcgqCjex135VggeZO8/nInnK1eiZTuJtug7C/HpBRH+2pzMhmh9DSAnq1DyTT1SvNOyYHBEWOj6K3hUx2vUMXOOKuZ/LLo3p2UGjf6b8/vbVebM7zlrNQsJiTzMmHK9MKnLtBEp9QSGuz484g/x1blrLHEjq5o2saBsdEDXQzOt65kTuPFzZqnX+7lAEteC/hhiejPNkDZQgXhmvfVM3aEbTDQOSlbBUfxF+W44uMcm/lSvg0tR9UUctB+BcnHeWgE0NfYs9mBJoq4nnS59xIgq8vW65WYTlkkQfA4cshnYGeK8l9Wwv01Iug2+D50yTR2013pdR0PQPRWJ3E1h5gN/KxfEwQLWLJcW/Eq3BiZIr5q7h+DQZHGNhMqMthId9r4L8lDDb5qrQqE1OGCbgK4y9hPNE9nEIQylWa1gkClTv7h/nU0N0F9WHuNCgXx6rNL9KlecaAOtfIt/5RSKNEt/pKWClu9NZ6yBCYv1DsSZd/1h0KjusJwxQWp2CN0GF8z8ciIBAaQI4+UN0iJOyQ2S6WLGOPjXRnKI8KJvh0BRQZm7TMrIYOBxVYAuThjdMTaudxBKRlSmPrlQGQqL/mBiMWhVsmgpMPqw5sWs5WvvIE+g/4dWERagYNV2D3uWmYt7LoxBQMZbmY4tC1enmbfWAlxU4l2aOil5si4C2Rj1FXCaFhNW3EFbmF4W7MHuvcDf0/lHjXnkBe+Na+THaSl8v1nEbt22xQM7arBldJZ3CF3y0QVkN7gAcdquLjajEdt6FX06oCTnZkKFHluk54wpGtKOUeIs/Vidc5Wlwg/ZwR376ZQViIfSf+/5eRIcP2NZ/tDFG3NXFgp4EknMf9Ho0GNkfFnZkyh4d7vgpm3rGiVGLaptubMhGrZgf0ySHnbKlg5ZWrf2TUTEaGZKhr4VYPNkhN9paJ7yDoldW6r+OvCAr/HzXLo7PQa29nlyTbfQj+KnIX8UWa+MSAQbCGeDAKbLcqPN6T/Z/dEdY6BNSA8x1K6MOFbTHBR8dTsNSW2R3dXObofpzCvEY2x2fFrp2HZvTKHVEmQeFUMoUNzv31JOWhXf+TxCA2E6UjDCe+humqU/nNHgTcZ2/wotlhEL2nTOo5YbfKqPXJP3DEld0xzATxmvUZpfOpLo8Xc5o3lFVz6OWuOc4GkibnFccNz2MYv2OAZu8CGoCi3h/y3Q7yKz0MW7TYX6RCFeJc7eIbja3hRTx8bRd/lEWrU5LF/IsRKh4fMAt0CASIhxQA6Y4vyKQqTN2C7+UoWUnegKUDjlE+2YbwYEYwC1ju+1IkHdR8EiHf1Mqnhqs01SV2XznRPeJe8a6jGgAsyQvUubSSfmeKApoURWgW5CBxMESdUD+CmBOkvXf5xqlj+oZs8wJQgeNHeZH3Byz13KM7OoE/NjR7g8gcIIwg/e/3KbMLV1L0hMLkHe56aQ1HEulTqI/eFFaR9jYO3d6TcHDYM5nGtv023J8hFTQIbVWvquwkhRm/xfLxiDQHNwML/Hrv5dJf0om+fJtcVADVzC/TZDTQVc5amB14OwfFIBYJKFWQefqwKHEtGPTHHVkCZT6KRCNsL9iD6NKqjINN+3XdVSjbqxdbocg9cNAouIVYn88iFMGXM4rQD1MP0iNoDRzT34rIMapuZQg0dDoBZEC33XlZSRUt+t/+AWdpvQO1XntssHuhSn5OjJ6FrRXN30RPVUBwJ2y1LXf8m7AOqP3b9tHPO6rbn82HecFpJKmfcmZXBmZrKvXmpAbG+vb90qGOM+zLqWUazbw49KubSJVthvkL4joE1JvqxBj9qDjAlu5n0/LY49Db0cEf2c2krvG5ypMYFpRg4hJd83QRbfqOnP+KeFjhdL8aaMnoC9A2POag3PN19sqJZWm/aAcmRWvOhHYmPGQC6zTaY+4eeAnVVTvxLU77rYmFnP/lnqhHCHrPVaznU141ojIh9vi2yRgza3rxB9mumM3Lp5iMSa4t4i+stQbz4P+Zt2DXaNLe2njhOAhi5pQeobSrodVVROPyPetQJAgHpTKIPnfpBF73QqLpZ5IPJURRkzjJTY8hn5g8FoX6Fup+VhHK/TBnWAnKnqL5qrzFZCIkqEk7XMCY8NEmImQ/CtBOgq2NIBdqgEga7ZYrd1oJJSH3yeVDupB/Adg/GFg+d1wqRcQdb/Dr2LLGa4kbgkg+h0bOVRc9aWG1yj57Isfxjrydv7Zg4a7IzLAJ7Rc+QFHPRDOgFtCjla0Fgs0v6p4RPlxbttnaNka9xNrAQa+0mrKVbZlg5YGGFIr+fYuPcjcqB1yXwHpmBGeOjCcGChhWFQZl3kKtUi0xaOU6NL9FSd/+Cl2ULMxF0AoaCoP3iXEEKXBPEBxiiylyPAfPF5DtmdNFC2KqMrdk2ml1YQ8UOD5pMZwXRwekJMHZ/2u4ADJVhFsA2Id7LFD+VTCdR6kRT5E3E6GCDUQ89av8+zV+kBGFRZ0uEDYPTK2FIeTxF8ktPOZG7dHtbxMta9uWB9N7u8vvLMP9cqrnAbfqGgZ857QwkfmJRamIsnkbwUiANtG1ZmpgfyUsG2NSmeP5SnqI8pkgVZhRthHgPmv0mwKR1ldUXHaav+vIg1HmHyQ4t+zQ/2jNDnZ1WiPWWnj/sROX5SHCCcj0QGb+0V7IEKZiZlTHZivUxQKsSPt64FscJONvZ3l+8lbxEczdjY9dHUvGfEnEEOGNoqJncGhLu/Z7Ic9dRGZpNk5nbrEu1HHEbN9Zlrq7DGcHi76tS6OlPhQurkRiyFC3l2uN4vLexDC8XaehLU7gGn8fBRbKllTnLqqGW/CERo3wXSJP1JkSixFukD/0RSkeUgFAsDfgQWhmWfJRbK4ytsMkYfSOO1NHs7ulqIN3AbvEM+Z9cSwsJlDv7N6UNX8gIpaxzNRHbplToveX1h0YAMV+ROl7ZcegmLGqMPWoYowCJygiFAcsW5M2P5cdCR1WnA3WWEA49AxPJ5jXONUvAPOlFPY0RNYh3Ni/rPgaSGn7RDzzwiprRtkxIOnBy3kFKSkZeG6A4nx21hIe6QBtQn+sZXLHsrMko+wwirhP2FP2KVxgqIiw6ZVjTGHoSPS10AxEDHWAiqhX3uVINr1PGV3C5L94UzdxoDTcx1MWH5wpSxf2bb3FBN2xd0GyvB2RcopqhNZzLpJ/I+zXgxH4EflQWaqPoPStsZGaLV1e1MwLCSeP6100GFd45ZMIcpTp3mwHfKP3RA+VcvDLSxYrJjm+gDSGguVsWMZ5Hjiz9vccTXBjxjhTIOrPf9b11+o5+Tbt7Ya2HJBQnGBtFGrp4nX2fqlCikZjimBwEvJQrYg+ooScYuH9Txtn0sAidCQD2cR5yT8Rt2gJU9GW7CnljcQD/gu/r1ja8fHB4sxi26/SS3VHx5krVAjmRpzH4FLmwfjRxioinuTTOAB4ku4ePpX/4xqalIKnmIZcvPRDB91w9MQNh8+WhvHXKgNVCwOgnIO6257FAMzpKoj8mZtxUJoxOrSLZR2s+0qKVEoWhHYf2eQ3TXLwkIrxabsk7EQ5TQHLQJkJmmCdUhys9y8agZDAIkHFPJyc0k9HBDndBWwPp/MXGAIzUjRLJVjXqNBgbHNCGKBnE6Xv7Qvj+H+Zz+YwAyFUXd/nD+p2scYWOI3BZcBoE5DjjBD5sttcQrlofH8gwrhFt0v4+pLmJO7gEx+1hWxQZQ/+uWireiwOfDdxdkSR4zox23QGSuCAzQMETkUvg0wC8guwoTJTVujYkrkSKXIJEHgmbTe8yUA7P5EVmJJ4oOFSbBcHRrxp+2Pwzy1InSR0gdZ5mHIJr7uXfGI5ACpR+Yn/NFdJdqgv4/KM7A4B7uR2OVPyd4cVC/ZqNOO9/J4tHQWXLB6fmEk6wySyIbUSiGrnhPzwL1RjAjRgTcluo2iH0o2qkhKEU1mMicckBgMYjaSFW0HH8rsDPXAhus5QV0fJwV0bfEH5VL8BVrapDXwWrqsq5UX4fQouZRKX/4rdwPlJq0oRd9y5qQOnraGr5z+wadkFuxGLgtCA+G+qOK/T+s+nA/Sc0B8AW0SIiTZlqCIzUEbAQdcbDpkXKHLwf6yFm+SrCeM3COD2KpmCjfbGUwv83Z1UHB0KQGdfoSIZSUxTNSYvGTxvghOxHS4z884Re1WA/EjX+eTjHiyILGiBhqATnNq7nTnuaTcvsEpQFesaw303hWQjfmxfQCUNFcJdxJ+NSLR6hCEiHtfWUCEMxMZhCrKG/J7U1AirnbD//+zUWPqQDtbMrwMMNzZWTHvKzpZhboSwA4/mwo0kjusLzOwQDpcjCxReWSJVwyf80YWBSReyt8diuODmnuxFi+2wga8juJ0CMYBtRXGroYYRe2tz7iqQb7jSSKGhlAWo6CsehvxS94VA7JMt9378nz0x8IjZySXSr8N9HlCmFF7nkMMRehhq6G2Q2Zg4RtyaWtQVYcbbNTYqsWPqGvYoPFAAPG6kpz1AhbbZA9PGBjWzOF684qA2XgxBcSyU+UmWRuDHtANkAy+CYSUfiC/3bUJyRvVE5CfXPwAzvSa+16u7J9OWZIsUfjvh8ArUK++C1DwksM68j2c7q7J8c8k1x7p+2BpOf32phLEfnGEtQY20x2FHLYQD+O13XbgU1oICsqLiopxbcMNM3XU1U357TXtq9MhBfaf/lpXQdHvjki8l1pTbDqUEht4VOnbZx25GzN+Fqh9e1BBOf3ncFHFqcmUzuS4zYIDyl4AiMyutDpgNtZjqjbX2JgDZl+XaWo3CEElpmCXcjedpyeyPcm3xP1E8dBg/2DmAxMVF3NwQvom8hUwAtB/Fys7YI06Kkp/dX5277DUM/8zsR/Vw42VzlJ5dr0pFXKML0tDDjHTmucmIVp17H3pMUH1WpfgsoxZm6KlGYK3hRhos9gqtO+vJRxBmZ0ojhxaeD1HYj6iaN8DwrHs2mcnaP1FNF16yS25Ct/QmNd9gt7YRLo2oyYNkt1jYsK/4powlHseNx9UrlMN3o+6tzbr2/40nGq5/qBafVhKnIFEWFtRZfSFUhkxz5WoguZAuWv+gLU2SJz1fDhjIdT6DoZtHHDswbCcWBRiUAvQa6eLWiWTfI/yWhTthnweYRbqmpY0fo/eDp1lF0qHRVXk/TBsFcyM45oM5CpTKNzKToRqU2MSw8KRvfXjNdMpZjcWgFLUwEmi6IK5QBq3IqOGkTSFmPbjfcvnCB/P20d6kcE5TLZrJCuSB+pOHZ3y84jt6gOwE2iPtrFKTQr4FYQ3Be2NM8G5tPjD2o+fgtTZtFxpHk9JYEjmY6aBWi80dMuWILS2c3cTGVxvz5iLgJXHCJ0c4X9m30w9U2oWe5KnDdenqk6GlzuOemGwHowZv0an33OIzyxa45p60+P1YqxkH3uIg2OhAH+qAHyw04YM/IJuKRHtgpM5pPfHI/xIqyTJv24fO1JoWlgOuiSqQIr9lFQVywZHppvqIbCr/mqKk4ijGoD5Fk1BG0kRu4MThBYidfwuax7mIHmHFtNOoh3Wxuoze97GJOqcOkvVXzeKqjSOXrSwHNoqqIN2uhpLSm/p7ODt594IKgGLbT5wIubbpELvVjJFvjhZznUBK3ZWl4g+slvrY+f3s96CjXgg3A96Fg4ll+6iLHPV2hWdYn+gePr/LI4LOCo/5Mw73Xtt72j4PymUCZaxqEUi5bfMI6kJRcaNP/xbQDVnArNoqg+n0TFI+IOJ+ueG8RHlzjlLs1kkQfbN+V8R5x9vPycjHT7+YRx7JnhkPMjqW4XyDOCiEHRL18rQDWKAf0vNtDSl6iRZvJqBygj0+kPfRmjhEDD5YqnPHsbkdEOy7RyjC66uYsx3yiRCH5gxatgr0GevlRFxjiwFoiYt8k4twgPxLo8aCd3a2DjmnDCeicglL3Ja9DltstWhiDtPa5ZIJayrD7gojZTn3KXGQYsSE+Wd9g0FkFqrLMjciYvog+Ryrh4sGOivmGWybvlJD8RL8AbOSrB3bduk1PZ0pywQ7fIP4yquXxp2QBSmwhhA7I9p1iK1/VzePlZulqk87ujU8dOrq36PmHiX+sAczuNMWz0FbzsUlvj0VNTKJK15yddPpBBFFGZdE51sgZg+a0kkkc+MC81NM5tNZMzbHVh5Q3MI+zTipd2t3DZ1UA7bjEHY/YUhOGbU44u5kHFfdZc1hI2HwUDsrplNUVU85GBSpyMGRTjg+YN4ycU7fWaHYQvgklKbLDaVqPTaVFp/T/TAXjFAQp60qPwicFl4ADQxYoiy5pfYKEqTeip72WOIwUs5mGoUt/QgV5iLatQo3xCHmwKrAaLEOl758LaSOhX51BB3QeX/jeVI23OeAC07lxTLOEgWlp+eGZHbWo36R/syYDItPD+NKQs7E8kyP24yidc9KnHvU0uREEQWMhxdi3+3+TI70ssBMQT5DQmSyxM7QgZy8YRamg/wAPXJkXYohJAlz7+T7T60nxzCXJM8jGFJrWP1OZFuHag6iRJrEFHe9GYpNSHJkw9FtEjmW4t/BDe7OSmUPMeP+vDRbIxspCo9N1lWNRukqZKT1QtMhYyr7S4wsdnWkYW7Q+YNTMXT8zVF+kCT54UZuJdshtj6xJawLILJCZ1Y1KGaH1a/VWEo7WLjzN8cCYMg733sONCudNv8it4TD5SoEKyJFWCFk75/bUISVujBMucnK+BNRRFZSh7L3TZkNo0n0D/BaG4enpWP3NFjmAPjdWmc0/bhYbs+JmPQPitUH/qb+2lFJRuZ0kW1TVDkLgpaltHL0ZqiU9cAE5njuOqabLCxVFz8IVWBp4xg3a4um+EqfZgRp0cFF/whrsOZDnqEvC5k2v+Uyo6ao532v5jv59kHFYovYARm18FFRsGRHdYiGCAnHhebbwY7s+YksEYxReHjh2+RqUrve5x4xqrh1owHHdOjv+xD4NDb9bL0DCjzFKgBEoa1cIE5Lk1zu2YrRhH8k5Aee5qHAPLfpCy5DQnjHQYNLo0nMqEQGBDdNchZDpSdSddKXnHqvPaZ34o6TxPqHd5vQP5wi390kHgsA/0zsaxjIXplhdq8o1S+RB/b/mxiQ+5EFJmXFgDsFJg1/lafikpkpF5SCR8uOy9IPJ6K+yOVdyOyf3AIc6+5DGOi2D67shOfXTpnRS/SIu6itMQaE087MddvBHD67uZxyFSxiQQOFnMgtf53l14Gh9nMenBKO0kPVp4G6eTRcXrhD+Gdq8OW23O+v+TGglJnoz1HYSyA6LfhHZm6paq4WCYe/SKBhd/KAzTcWbfFJjc90uns3DwKxCqG6zC0VaK7iYwPOBOg+9xGiCyRgzCA8wVJO2vMknfjR1cRSgJfiKCLHEewdpXxOjv9Hqbvg192Kni3tSjaNXQfC109WFVK7brELbtjNDvnXnqJQHCIKeMm++K4qWn4qHWoROuJ9BM2m2y+uCI2aj4a+rBWyCRx+/fRbeViKHR5U8eWaebB/TyJ8b0jIr4ygzQbajEUzDMLn5H+KbDDplkj5sYG/kGlrvtFk6/xakGcsh2Uud6XrtAIOPSZLP/yJbRypcXJb/Zv2IN1jHgK/WIhp4oe7+PupkoACY4brBIerKNaw63oF3jwAvxlgHBA4/14gje6yypCyYWmL2IW31Tynj1HOpBc/x07mzSEw3cDWqjofeW6XzU9tNnAzWB7sO8VOxQylGvDTTr10h/RTZvZOrlRQ1a8qa/sWu9Kik7vGzlvcjsDfMqmAVb5yc9zj23GUDiKGjje9YVNTCZjoPH4mOVLAVP/GIkCOf+g2Z9NnOFAC1CGc5Sft4olI0RCcMHGMVYKfkPqt9rsnhUCg6EHRUwDc2ZErbl0nCDBM1/ZJl9OswLxEA6nxn+IsUB4PYVWE5jyhZyoM7ufIm7sdskfc3OfJnf3zdUII9zySQKeyy85uXXLa/kkdlmYlqXMPPzdlaJqls5nPpi2umlLe6dWHJC4AsUQzrntq6cPVtN+z3BQlfWLX58M6FpCgP184RHgBG80BAMAZaNpyo5irPwkpNK9D7ISTXhDpPXJS1l8ymrAoaPjyKNB9LwNbNM0CI429oKbxEBE9IDMvXwnky9AuQ1A2BvjHtWY9cSSVYAeckr/BGB2w910kTtvrlEnHFYGTnBTaK3vrZNli87aN7eO4ZlcWlKMo9AcCRn33MLUt2YlL8GFh3/V4IKqrbzmKQHofBD29D8CofG0o94hBLtlJHHV6Ox7VVpnKGuOG2A3dSOlQalorzETSCYh2j330EgA8x+eJ2ZJI123eib7pSVx1pGjb476ZORVPlTwA9/scuLvYokWiYAf90wIs3jdLSztRtdBca5u5svSh7aJBeY2PD0a1z6vPSWfz/k6egJ8+Xcu0u4YV1vEm1w8Ub1WLsHccyHDLbxJqL3QBRvG5AQzrSCE0FwPKz+UqgtIkcd086y/rlMhIn4E8JMS7qTIvJV+1QLI5PIzXXI1rY+Pe22VrXt+vs3QRldEfWXLIOxzv/i5GSvL4A0bAC2o80V6Vb1tVQnby0mVBt2cTp3zlZdXPtEfkgMZdWv1UkBbucN2Cv39VtBH2IWh/B4q09ovEPZd1esrdacv/zUTEK2t1noIUIujznL4C3EgS4xyOKStPPJeODHl6xWW7j4E4N4sMfYPkHPXnpry2ujX8IW/hvGYkl8SSq8w/qzY367sefhp7EfByGDB8NaxSe5E8jkDkY53nhvCxbXUW4+xQ44hqGY0UI1YKox79OMO8oG3snJ9zK8q1pb8pr/9xD9z0pj/8FLabYRprcp+aUQ6dLr8Z3lWQO2g47FZeBpq5MxwpWXhCPLIxa/mdOo9CP2/CWm7P1C7YELZj51dJuV6CM66yrIMDDTRWiiMI4ouM5ANQ0IixjvYZpo4mHsz0M83rNqm8TBXbiK3mMZ4a6kb1x4p2VwRTYf2mZf8uXvzDBTHD0+nF/N0teLM3dM+ma0jNLvtxMFwN+E7tAV46TkSi70wF4F2se7H5dSnBwjF0KWa/wr/KI3pjnMqJYONR/QwfAuzCBHBQ03E3hMoqsRc/frgIpzk652BlqBI0VzDVJt7IyJUSF5va/Zbbk7PVQ7U3X4LeHkpiMo/KiOd+HOzrigSEs26ThbTSBUokJWpPwarQEWm/0H/3HpjQmEQ6SGuZODjmB5G2eUghACFzUmoWoT3HsjM0NQn2l/WJyjRIIDmR7Pz53rSPNXyoKrT4KY+QpaGfxScKEgm4IpgUeGNeWkp+Gbgf59WIi5OsXslGxiMLhGRb5OP3vTZgKF05SIxb5BwYeIwZ79QnjjmisPb8ABxWazyBzXC4bme9Iz1zRf71ef6cj7ULJHUadDBRG9DJFx9eiCGaiXGJkFLWsUDddOW/6DkZxYYz8dNSTdJN0b3qtyKGs2ZbRJEphg3ECqG3oPIPRGxCMWoj4hU1wDTpRn1AxcSBvCJVgnQ1f8BBIq+LoanldA41TQc4ulczXs3PophaPBncT5PLP5tq5sg2EBHak6dMg5wyGUXwRdeLrCIFij/U5zcp5bRgC/+xvMtpWfi5iSXapRq2JPawb9wWCs4PqpwrNZ+2OcizWxK0Qpig8BDQhA6L6y/26RNhdx96NJt4yu1T+BwLhwsM2A4t/1zQqD8lx8aK2hlzzRQOym374Y3nQEUDZY08h/2c2XV190+mF0La+GvnvlMsmRiEi9OaJrBU/wBwJNZitm4MmBpk/aZDQSeqGEOaeBi1ivj7HAkKeX66fzupImLuDGYj02lNoLFMkn02tOSfVBT4Ydc4sCyLpAXxhx9N2SZp7x/Paflu8KP3zmgxUYBSb+o8Q8p4JkqUZwR9aVAl6W4jyQX173ZMVaag4OfPElu+l1+lNkm6Ws+McJkW07CWERjYB7pbGZBT7BsmlUZi6cE0K86a4gg2fbCoaksx30HuvpAx5pbDImxCEuzofLHpUpqZjwFbMBGR9exnGONQ6gCflKmPBYNCZcU6ej7Dw6Us7JGXKh2/0TVdsa8R2gv4NloceP57PeeSmfGuPnEI7WDBxEtYHAXHlKTjgJ76ARAOJLwIEV3ZzOFT7oY30xRajbTzFPA9VIgvzjW0D5A90Km42oQnmSUJGZRgMAKyjbqPW9mex7J5UkLsDr4ttLJ9suzHecLsiUPQHxWYZXrosiQdMQ5DVkEPYDQhc3N6J8VSiPCYHoETf43TMDMHSAemVcmZGG/cmuoKYt3kozn54Nxp54NmzROG6lnJ1vxuYX3s8cWkmJHT0j+KFn/oZpG5lXUN5QGfUTCcbM2o/1JvVrFGuuz4WbMZFNjQW501hVwjXJhG3P8ZBhp6n7rkL2GHKOkKyqWx9FBUZetHoC6nK1Gi9CKN2AdgO5S/mSORAG79x0SM5PlD/E99fOctuldHa6bqa2z33oPHJ8L8xAcNqyozJra99BkjIs3kyRQtu8kGpj5wCO7y4O9xolvIYy1czlItw4bCqUMSFebHdE2NMYiPcflUIgWVNRkYRkGaDofcZLcnimpfV0M87B4EsHJWj+qKMzGM+b3+EiuwfsLBRG6OJDdAU8sZDcYqDYJJAKpCcFk6ZoKBQq86/7y1IwBU8zZjvuxv6tQJjYp+R8XGOg8AJnLnWRa0hdEz1O6wh+sTuAx3KRqnKGE/edFc79nK/xi3FTPIl60SYzlRwwydS3K44EPwOsQYGhpppGhkQlFXCMiFzt9wLgVK8P7aDpfD0mGf2gSiHXdWfviWoB4BFzTL4Kx866ifnuRBUYDyvZsxRtZyViVtGD62meFdaMc/r84anrZbgGjflsNfPBoK8I4DJuFCUrMnheFwNXeyOa9xRCi6+ddcXXQabvcKA2VPuOZXrzr4/3R5AiHNuOOFHU5KfzNSDxLUDZbcSvd64r0j04ZiW6RoWA1V+VbtQZ0CpIcr3x7PWlAYbCvkwkhIBIElILNPmtiDhM/QbLaERvDNubYvlNDK7cT+9Jt/F4NPo8NI9w0EBCIHzGQrp/6QRkw5N4NKX7YRk1JbFCdM9URVTkzpgQ6DnvcVdOdF62mr6rQIBDTw3AE1P2037UQkR5Or4qaWqBWL9sMUg+vzrb1J5Hej5pWU4Lvjb7MLnuUH7vf4EO+FtcKMqTlv4WuoPO9MDkQ3gTqHpKmFuOicLw5kxJepzUaf4edcbFiyUykQ4tq3tSBfggpFBpKTWEWcOhV4YG3PXm2u1Qd65x7J1liUcXF+S/oIRxEGlzmUicwdKlKu6+aVzk+LT/kNwQfFMnPjI8aV3PPEbTDuxSOLhWn+CG1fqAvwqzwbBYGn55l5ulKwLvSDJQyg1cfjYIhyhPYYxtD4wsMZgKEKHJujQQbqs+bMkaafjduQq0nf/dhSWHn7qrJFqM9n5gb2aIRGxUTCVH7jGv+hSVT8178n1MRITqAKgYnna5jySN6u7JtzaV6OfWjaFGs6NRxi4OgSI95tHrc1YcGh38EfcbMzr9tclJ3/qpDqz/BbjHOK+2clM0O48GH9icTemUU7YOS4zYkNYTJBZltyHNJGyCAYfHhk/Q6NNrWOi/8ru+ppJ/OogebguZZWCpaQ0XUZdQmdiQ+QrvDG4DKpsxqWQSRiWEuH62AjSoTzhYShR8cvvtCTnK6SyYNNfcxZehaSZGUPRHdqvuIeNsDsLgwkwq6SRwBLqtAf9XmgJ//XgkITsa8yrSPhUrcnp2a3fD53TRYVcsC3ogf2Dsy7h61L1q4VfPcZguvBJ67RgahPEoQfXdamSEinC5Rjjf7/CrLgKvHdcQsl+wLCjPwOj8v6y6f5LOzC5YpCq3Qs1Gv7NRLJbL/Du96KoKxFoL5PTL1lu1yVCF0hls8lD8LZ4XPZFYDRVxRMF9P94H3SNTtQzyYGW1EeCADvcWaQB2vp+LGjiYWX8+wWOaYMWrlcog0K1VY7W6qBxRjlCqufYs30VQVYbrM/fa052waSPgK2YCZHwG5hH96agyHfYl6QIcZpcArtn7Ke7JxueRlVqocpwZV6BRenBWEkoncriP9+350iYsznxSBcRvvhNtGDeVom/A3Z/lHTt5zNH7/vQCRTZSNKxFZDAVwKETjdxVlQ1euzZ2Q2piLyCNotS/996FUSPrMIBLzGDYYrZVxDwyruumQNujJP5ySMLd7i6EnFCXGBIrTfq2lTGn6i6TsD9XSYUEz6Hhj/SisiuL5CYQMFR971HnFIfUCSCawDF1GDkUob9oPppGqFgPi4ufQj1ARqXbDBzgVgR1PkAUhq18qS0OhcK1W26jkh/pVYuFydXGPCmcuLpr7TXjhNALezmoqZj4r9gFv55YXN0v253LlNRPQtpC/OCwehpk3DrfE+fisWyQh3rqrcwq8qRiEmFWBPliLyqDyag54B0b/8kH2W2UMQenEGthRVytj525g/mi1luFlPnjfqtpelr6e2PzOhebIYhqjTurSrRuXiRO0pgxEzh5n2pv0NUYzl032PZQL6bFpGwtECzpUuM378tE69NQj00BUmQRFKwO97WWGNqPuGTzj0C40AJCqOmACdF0t9V1NzwCCaKhodlh22WNgWfk+EQoyITxz/P07Hd+efMcxebrQKHroliIi9/upoxgqriaWPyB0eMgKJGsRryNiNaRKvw9AWn2qXa8Zy40/OfdX5guKgiZlulxwXcJV2oZGs2k82K+2FTkdqfQ7vD38edT+KlOKOIYwstKbt+LyiviWnVc/3UbK1BelDJ0QEPv8GrMnY8dC5qk/0g3AZD7jgDAccvxm9nNOPtIW/+UI8aop4JXTkVg8ThqsDaVhl0hfr+iHbtDC9Fw2Yj59c+B+mlXs7a/+Zrsfngix9FcIeMrM/Co3OMo38lVw4pFIPNQTgI1VyB4Pgz3s2nImyp3B+L3GP6rvGnHPvLQ/z31ZIosvJpYez/YHMlAe7q7osFsiTSTP6dVI8lgjvqKDcLVpi1m3SfgQqW36+IFjVnNsJPYy0KlW8KBVlHQfEBHEwd8LrgV0zG42y58e0JlEm+6gJVFOSFYpXxy6Yktps2pTDIpbLMsAyPQ0Y9UDbMQNandzDm58dNEnkNTNk4SfyZw5clCSLGIMxMEvqSgUqS6xL6A+H+UwxCm9GIBGzJOFfmjxXrp6HKJwqK2089j3kUpslmiVzE2eE9AXV1odJhkWoHv/mX/covNKHxeRIg+/e4c7ZBFt+USZ1F+7H1yVq8Na57ZcU9M8gdaW6BxWAbDGV8OONx+glvaKBqHBX/99UJtJh4XaOYocWQvo+AstRd3C4SKT4Ipvm+OOq91X+B9tBzabJNblfE1y/KhBpY1p07sA07MqCH1/mwMdds/KgaOa1/dOjgcUB7FAqp77Q9m4/+VedrNpOffjVYcW4mHtKylbjPWoji+WWt/UAHTvkUKwfdZBdSA2RQNFDCdaZFjeKm5tgSBDfCMwdJ09W9K3w3awWXum7Sktkqp8Z64Aa7YlzBzQMH6fssF3UMMF6lHPL0FWT97+NwxNs0mnjbJN9NmfMpqddXrMYRwGCGr/OSYNQX4Pqw3EIBTbXR2a6B0BruSSk52xsl3gtxGxMkkbrPBqFP05LKjoLeiww9bokLiXRoeQALmIiRUJIQ4QmyFPHvIxXSfwT7cA/WunPmJVIumIySXLoD0mpyWEgciEdWPJvmQx1mAxO44QAIh3qhbHirZZKDSW8AVqkqsPMHvCA+UHSYaKEB98BUE4o+pu48jUSmw20zJN0RgWJvfdsGcyzA/WfDkKoJn6nicIyf3+29sqi+f9gZQwO6a0wWETolWa2AdrOLn9Km8Fet+QFf+xdbnRQjf3KD6B+oaj8+Xb2SXFpKKACvsRqeGVQ8UOCljrEbVJTvfdpPZIn9RFHGsFPo0TtAHh3DAy9G8YP3EyLjeUKri1EWzdN4WcYxmYgGZtqX3zWlk3AUO6goYyDJhhiOvvfS2iRxeMHcJdAyWXZX9OhKlHNBX7/1fp3CbLgY9BLeaPI8B1hajBIKSrIqd/4qQPS8X5dmwlapchJT8otRMwMDEpS42DkmJvwLzXCmLM+cs6sIt7xhDfXB8VSuYdArUlrj7VFfbNMZ6lDh1VclRDjkVEnlyhVHifNdj6cGq9f5A7qLBtptlVaSyYIOlgXaPpFcYQydn1k3nJERl46u8IXtOjTI0FW4BzafToRAYZWl8tXDj7lY7q90va6K/BJ1aLLFjTzHtzkufs2Ty7pH+VmSgXuBNZW51jmvYSfSnPdptkUv4KTZatCk9Adkn7ZuHejWdyVwvHyYLOVDKjKep+So0nO25kHnjRZPj5xf28uKzLTbzY/zwWhYRcTFdKxgUC9xB3lHig24SPJXvF846aezNeDq3m4VPJOtifBylIhBRtW1GFD9A80UdxTZmHoybEkPgDPyyDTM3Pr731RvMxIj5FVoJlrkmbzGsN5Qo2hWTUxi5kM67ccNl2p9hU/e138G8DBZRX3Y6WUEKIZdAtCB+7s6ToyIafAAnXO4FZZ9ZTSPSwKJUrx+Dnn0l8cXZikz8n3L7xFhuHYPYF1GjwPEwJpDDA6f5MYq6AQReud3n6pHXD1mER5GCPOvjA7IfuCLcMAcOKt4IRQBx6jmULeNxrbWubqo9IAgE8Pl7pbkqbtsGykWZYV39WdjXhQU171wvIID8G/jAU12xF1/sxQebZaw3S5NWICo1ZlR0Z4fZgDK+O+JzVAPkFCpoCKStdvAaiO4FD5q/uTtnwrdBcRApM7iUJT7xeCsgzdCGsnr5CYxRyoHuswJ4vEG9BeBhl7DK92MMc+ltj9bHWjdO2VUlF5W20Q+WLZPvxI+2RZ++q/X4dxbA1RWvYfODdlswH2GA+zTLiqZPal1jiyDnJQa7diSIWgCxLk49yzKJj74t3Tn5SVKVD8lypkYzoj4A7yU446cN9gUMv31VlHaMAaABYm2z8SxZRT8O+EgRDffNlGkVUEEtD/XaS/Fe0CeIz9D49E6I1bLrym71MFd18nIpczHbYto+xqeBKNZAqZJZ8qK7HIGqYHQjl+B624KOOHYgHLP3q+el1nlvf9YDbq51+F9zpj9uj1JlAg/tZdl7ZCBdBkRyHCMx2MRv2NZq0Dj51PYS/u/EAg4YJ3dHYkfv6q7LjXUAJ7kRv/9/ZUSf63KUGuIPkeWqBFFX2tOqRMC0UHwrd89o+DSQUhXQspaHcHiDQd2P9uj1IkZlydbiwIJiMANv+YAZOCsf+hPlIGU9XdN3XRfMxANcvLhUfDZ282pqF7SyljR7LAGAPKEkKPzckz8ngyRHd9N5QLSAausyyUwlgD9r/aKNffZEs1e3uQHF1OK4PCZPpGUOk1RAxTl9DqcuAvdevRPxm8VlmhJn74Q2OBEhM67aLtGxHeloMKZ/JIkp1rmUfE0rd1WfrKlchsbQkZ66RvxVeBgeM0nM3RQuY8OkMSIFWiXfZyr65bZuwmsd2g+o1S+6MhRH788iQ0t57c2R6CqzvFgtanE+/5ihH+G9VQwQru/87LMopEFWKq/dNDPULreQToWHtRNG3uEFvP6sPo/Ziapz6Udf8vIjbFLhklvwWVmCgNjYnJTPJKn1FJJpIk+1Q7Ke2epfovnKEJQy9T6UCZIUBQWTnGN9AFx7oX0MOhrKebnjKv739SCgm8RcechC10GcyxLuY2d1Nc3LIfYb6t3vONNdR2T0L1xTyB8cGAf5ab1V+E/XqiDBVzA5i+cw/5IUp0a0DATYV6dbpwvtXpknsBqcdOBGW52c8KzSAndSV/bvzxBr3iDC3cuFOxoZYGefgsXKJ7I/pBazh3kjkTlAF305Nh+i5NShlencBrefIFLw15oy3aDI/SRfS3lmXTV000NCVb2WjyKvu0ndp0ylJO4eLnCuw+UcDNLcYpedRAOk4fT8c5W5xTAZTZL5OLsDtGYTScXyGYaEHH6Qx75y8PNZHhrmc+q5tcYbDbLEI9RwLiWwm2gutn7FuPBaGrPlx+meuBZrS0akk5oMQJcL7mmJqAwTiy249Wgt/GKxZctYRwEQkFW8kM3Usp0iemhXzEjB6R84R9eqUMwSkOgihNByQYrDXGfdPRWt2hPTvPbUUwqMOJ/Vc9xtAXtmahNeHYfXjOvMwS67o8VEy10b8vSFhdu9FeRp0TT6ycttDhIPvT/tDSHMQc4rTVzATNuHzZ/kG/QnNfs/1GjHPJ93FfnN8fvVUVPGlvqNNrrMvuCmRwgoCmNobN9ZxyOIpzATdA6sNvPnKgmFUTgGPzz0rVidHXAuR7oGaXLJNtCAwJqcIriEpi2b6FbwfLF/vEatwHZrtOB6j/2jzjGplywidm+qKgy/7KCWgllNAXgrGkah8+3nJlHYLo/o7ALJoXmAaUSj/tZycGyq71mGrODQ6YnA5r+TtHKlqTayOSBSdc5E0JaGNB0lpMoefdXl/nhA3NX6p/Gb/J91EA3QsyybdIzvP3oXtHyVJLrLO/0SoKfd2csZ3VKbM81sCqGNd7f23nAcDLSxUfzKsna4c99JboyKcILCIlrV+4RtnMLYABhP3UO/I+kQW7MIk9Vk787on3FtaotFY8SNfXMN9K/Ht/CS5dVRTdSyfdSKVwW50c1ATNJVgKua6rQ1P3PlUVg/k9IhLVShUKiNvqITLUtJWTad3Vy3fY/1Eo62eQUy3+Rw+r/c9iJzx8rXHK/OtIhGpc9bxZUglW4lnk4B6hCSRIWcwm5Zodl6uNdxvYdBb19MJ1A/0uJJLCCEI53SmFw0tOHO4/Q1BpZqqS/PRs/h2I2pe9CvlcbmirsROhCwOx7z4krtQbTVW6h3wiX0Cfoeo7JWm0kKVSiAWMIv2LD8LMGlc4SRoe7q32f2eEScftkg/5+vvHEcc1I8fUe2Z0tYY7zPqngS0wpnfIyW+b3SAhEDEzKq3iXIg0IBhMKxh43JlVcjjaUbSwwLE3marHWWOR0zVN8oBQoqhLfd9AAprp6JzsJgQKuwmewBMuvvKJJ++WM3R7HP19WWuWRXgt3nXrpSozS9TfTmMI0xBsLHMeeEj7U0BvjDiWPobpyEOYNQvWKjs0NIuHKLKdfthCv/7RyCoN49uIGsDA/MhVAHWtc+B5RG6PwhsL38xrzvXu/UaZJ3C7bxQQxQGu4tTcUApTcIpS7G0byTfcWdvkHtI+iLAOel0GvZm4fF5Zs8GaUcppoqCsOVr6cZTANJJFo+Gda5zFyeUMZmyLBru6YFRwhI2LLo4zB1Mla3Zvyt4h03js4sdNyDVbHTAjmRsby8lOigg3uZKw2+vL3GJR7Hq1FsTvK6ezDJ2HpePckbPBxaooN9QBTO/bCfMOQ8+IoNAwO3A++nhUlU3pvc982JWP3p7t8QV5m7wKBUAWGw6msMspn8LtwBNAZ4e3U6/mgbbqzhC9eL2c2MNKTMXEfqaR1XqGp14O1n8M20RcgI3xoxyyJ9Fn86yr57g8eexr3YxEaJse8095fHazXIpwoAg7c+omEqadD5bSw70s700roiNUiLXb8PP1DP+v91rMO9RKOj1HojS3bv3UlUVGabNIyRpOKTgdMSNtLY/cE6kb7RhKWjW3Gl5b9/+crXFwKX9cmBFKdVKIksI7ei1zbnbkIW6FEAkv5UTx/SJ71GSauh1IhJ+NfhrDxU3JfSz8VZ/eIChKm/j38wL5c4tReoVtnLCzoKjWIS7R7AYGobxxHIX0FFa9IZmSXSqDuZUMI45NW1X1ioS9UigpUOsuDWLAM5So7Sts6HS71PrFtpjnqcQkvtcK4QfahkNBJhS3SqgJT89sNExcizCgx24paDF8oDm1INk4vzo3AuAodvgEE4tPhNOwqhPpUSLelHTMP5+UNIN4oHa4rExTU+DHVE51aK9ys2UqiYp91ga+ERmoScdB1idWbjXP5xZimjw9kcg8zvoxhkY/iIp3MRb9ZJrKJrnr16vpiJBvMKFswRF5cznj/ziKrGl++axDzJHVRenEr+KGfD/KObJayadAqQ8cr6PH35+8O7F5jidufJ0uDo/9Cqmxv2jNfQCma7+oiztS6vzmAV0T/TCLlVsnI+6h2u82I1hLvIZEX+bqDwnCMYqvZc22GeP5Svq4FfK6Ma1A7ntWohXt1YvNO2zlzF94xfw78igxxETW1oSxcRM/1OzdG/NqGtQ0Fzu1S1/2BzrxQGueYBLKVGjaL/P00VENS7yyvsXtapyxNL+HY03dZgZ6f7XfHcOwxL/NuTGd0PmBfPMiEyX+YKFFY8JO+DeruoGmTLfvCEh6WZ9WVNMSZzrtJYVueKK9F62RtL5o8c0669WfcP+Pwqh90X/v9ZkKGZXSF/fGiuwFKbw/xvgkY4/uVwjwt7ZjXrVs8EM7tlDicNGyOLFyPGiepRgnY/4gQuwjwsy1gTyzMjtUgU78O3z0OSeCED5Vb7ibIGxPbdFu7srLoxP5p+p1ChbnDcvyiL2JvfXXinT0twZu+LUO3cL9hcynWsJzRNG1/ch/CYdgS/Sm84g26jgBicy2yl9dgS6GyItCuYkzUcmdVvmGhMcyKHGcULhGe/gTn3k+S0IYQeDXiE2ouuFABFpCZJ5WzH2JpLD6+ZH68L2yA4QW6YCFcZQjGhP7CeRG3dg1+oVRTxHGm8tKtzc0llq9NDYzZu+LNZQBo0uU+wUZf1nVW91Scnzt2ujc1Kmu7aQzCfaXsaWOFw13k1D2EzEBocxuei9QkRs5OyjaiSLOCqVt2A0zvb1YUmI7MXkmmG7s9O5Xo4x+vrIhfsCvIHSj0RXb/7wEewjfaQUdoLcsU2/jxOCJwtNCwAakmefXi3m1+EAFkHhQHG2F+FsgThnv2W8y5bldwGvszf7LBBF+GUJ/qDmdjUBtActDf37ymu/BDFLfTCY56Vw8p6anw84H+U1AnDYsfDgj/FtfI7z3Ij7har81hsI6Z68RR/Dgyb3xCxmN26ZliDNB9nvn1i5fCdc+gqY/Yroxt0fmncAvFUk9V4h4rlw29enRNrSb6XMpgXue1Rh+8tHoY4KQr7NOySv8LZi98ZVz7zlg56RUwn4Ncr7oXJdJFrfXFrxK5M4ZjAvIZm/JOpmYUh74vSxgWI9UqtaCc6tyRBDDYAB3nMFq855ceYe8lCBSoJcv5x3yGvCXF35fgm35mxlnPoU3347db1XQNpfaO1e4s8PFFH/rNUEXyNu7vl3vPCCTw4kTge47yBQjcn1Ck38cIs0LfPfRHkNZc5YdMHLbSTD4nIwdhwjwF32Y7R7Op9Y5yTFTrm1MFXoAyR3yxKlkkb1Fc62047jQI5H/0DAViJBVbTxr4f/uekS7lV+nwRlJ17PNDeUtcy9fPRHWwjMzFbrFuuK4J4qnmntMc0i5RW+4gh/62X7kf4th786tl3y7NSCOcYRLNzD2wpo1vbdB2dVT11PgxlJ7H43jg/XpFV2a+DonI5FFuG29wgPIQVDAKc6hIex3jrnaRr82Xf1ApJEOUylzKZTppzvDCzS6tnXD9kxW/J5fXYK2HR79aohxVLowlMbk50bl/qH5iNLq/7Fpw219h+DRvmeVCcoNQeol+QD0efsLSUR0CHKOjGyqRloDlFBTUIFJlGeGCxz95PwBODjbHPPEcfO0Ac3UFH0xm0vvMdk5W0Us5EbWaQQThyEEw4AP+exh/QacvRne3XQK96xz/8iWk9eG8mmnMYt/qmAD7J3pscIy7WeBDtNjMB76BErNrX5ufSBOsa4XWmy7h5KcYWfL+dFp64NF3vhuJuQLwZzsK8HkzvZzi/XkiEOfEdzU2hJtfW3/zVS1BFjtQt6gZVrm6nS2KebGRaIcXMwyqsvAkOIrsXVJGzYBuFMGW7hLpcZoj4Mb1qchmhEIOKuu957BrpYve6z2ZqeQuqLarbM5/rOwxuy25HK0gKYw07wtYQyOlp+hFH3YIaEh/tC1P5mWDup4AM5C2Y7IexVL8oWtuSC/sQsQyL5ynpLyWRxglbpvOmYCLpAIUgoDcpvPW1enwXJaGs1s0B7QM/7tb5QEV5FA3MeFXNUSHIernpXVvvloqE4GHtv5CWQgoNqJRU3kgbmCrv2m5l7vWXfTbgq9OPS7gCNBF+7He27OcNqhP5+ybs+lBlA+2qyFUr5loH1bje3nWVBLDKeGj0lPzoiOU1PA+IlsIv9MkCu9fUQ0v8OX7P88WcwGfcZh5UFTJMoUrP36kvzfZtpQBzu+UTga9yFaRY7QVqjScqGIkZKmKgDPrsg55ueUllPz2QlSY36VOEGdWVXAwjDJX/yPfKupc2zLd6UUhFAt+IOv8lmb5X63FxuVOuhhwL3cE2458Hip4dmAN9F/EOzDrlJxRmYjwVAHfj2dGpap30UgcMoEkX/01VVDswViQTBZ9fzozNPbjEvUOI4KGosyO4cMnbJuz1ZFNqjbwAzdNzDtkgZ5zz9n86YnaqYnjyYxgbN9wkF+s2iUOuEHDBJU1fs5zwGMHGO/2DjK22yJmam8XDoQ0ZRF9NCIgk51hyn8rRkelh57ZE/0Eg03QmwNAV0hxMUcX9Bf4YCzqO9qxUih6aVG4O3RLvY6S8Ni2qNPsSgluDnyQ3FGLs83MfivLlL9gNZjLvzAM1ANU85R5Np1+dwMxgM+uzc4V5ML557emCflRFOsgfnfiCfiGmlr9f9HSvY5MCwtB0uCZUDy4JTTGS3j4F7kJGmq8vt+Kpfwuf3UQyedJ4lJcmO/R8Vl538CmTW+8ghXWF9XawyBE/MvrWQAcGyDcBYUdnEvE2Hq8zxQbKYG0OjaRLgHVsT/OHMISrXutDpF0jWDWBkjStAUbm81MGx/769ltJtA7cdJAfbmeYRBVbdGt9Ia13mCo3cyrB1F64pLwSM1j42sUShqHa1FFnYK08Wc66MohhPf7bymc2Mr21mqSzOBdCsV8HFH8X8Iepx85SRGeVIdGIbSAPDx1P/Zt/X5RNIddCikQydRsSQ3bxBAawr/NyZX01kCny5LP8hIJ+mCZ0rGZeI0hXK2l4up/XZaGXYyhUbH+9ZV4qraQl7AEBa9vXb3ehexsewJ/QzEUGI442M4MzSeoOdOM2j9d48fTGCwL9n/LlatZYFGY9KeBRybCwS1saiEc9emauW450BMKVs0buV+sIhNyJ/V9/JSVIMAEiV1OI52R89I7KDkyU0PCeMKh2MH012GidgGhNx+fK8n1c4i66WW3da+TLyCBksl8ZnL93imP/VfClorUH+y7Qh5BwKamnAslzd/ZDgrkmIYh74cySiArdf9ZeWa/L00N5PTMdJXY7DKJ82+NObHNy0X6AKdrlN0lWWchoqHChRWhXYNRnvIW9Dzn8fXmyKAfDfmi3ptNk6f8ovEoVkyzuJWEQqGcbHd8KQWemYCU/QY6jZu+mePLUU1c4pMr1HgiXiiT1tPZ0+tQgqbli+amyzhS4wlSouep4jzzSTT8eVHP/61AUh+Nj5avbD2Gm6ZN6+RYavcjXNt8bQCMTin/1WpN+u6Eh9CKPd7U7eDm/Qt93RMB1lrTrAdFrn16+HnnQC3Qu44Eu/xY0lq9WfdNwxPvAeDtsqw+pP7VbGoQzcO75TploS6gxkM4h+riTooozGniFUM6NX71pPN/+kOKz/2XaorRFsjrZPwS5vWh8BvCWsVKaLYknNnf1PdbCf6LqJKvOhAvCPgZLd8FRcsTfLqf7qSnOJGtcaIV49v7qO2pQXndshVMDCXEj34LvxnA8G2q1ETUW0UacEWMIu1BIYZiPM9MpKMqlsMK8DIXYupCCwqJTerbql0kp7ZuprYYwonOMIbOQJq+Aowp4hm54wupe8GwmSF+EJaL+ci6y+DIXjpSOeAZ5Rh9/pSOWvko9HAajrB/l2ETm4ZnhFU82ig6Nn2fNoI0UbtdcnldmWci1Rba/jRFSAxDyR7UcAQ8oMBlinjhDCoccE0ft/rU+1iJeCDudgniwS55GpfItlr9GLBu0yTWWjxCFINYDErEJ0kzkNnU3D5ZVwC3fXsrB5nI/ZFUndTdo0PnOAW9s3qieWDHdpq6MEVoB4WiYUOuqBh0NwveIbqt6jrq9ogX4C3xqNz8k40f8I/mpPUGOR25UQCfaTekiphegRjEOU8kLf4wNxdWY5D3R/rJYCrJF3nVCwX5nF2FGZtywAe+S290KHLD0hbXAZC7l2yVT9M/YzosN7o60yoOOgQLGvzL0D23mOu60/Y36ZRfYDnsOGpPijV87IwiQENYPIQBXSYB4lTr5ex1JnwwOhTop+3bTOmOff76HP1olIwHqKlSQAIvbRYwsA4GbB9C3D3RYXwcgb+8PwdhpyxMMeMlnT+L8ogjiosvliHkWBzPOge2mYUYcXSpE7PKiPp5Kd+Ql/E/6hrYF1AyZ3i4TqAb9PWpU6J95u/6zcYkl4KPPZnQ8z6uGzHIm1XAx+fUHRjoHVtSKObsUzf3CcmDfnUIMCv2pu9vUxrMTcoDj38i63VO0Vn1CG+56AOe9db5g/6AbY35lPS/ODNfBX0GdgZwd+EQgwyTSX38I7UhPFYi+CE1epT7Mozs67t9ofJ01nIQDN3xlNs0LBYXOINtXj2bT/dONnUag0I/ebx92VSg4CxN5A4yKZzpryClo5ADcPuAthPT4gQWbd24/sqIp/5rmoKR7rmDNqvNaTGD3HntM25AgBgMk6wl2EwGtg0XjumyfoWMmBRWwV1AluLchyc0syZ4wnaLCPSbbJ95jHDXucHarYQSCQh9OLU+IYhiFsb+fgGQOoBB9ALK+5ydIWHpGfdXI8/mJPG6X5EMpFig8Qq2ChKGq4GlHhoNmX7OibIEKWcQf3fnhk2sjFQdA/B7hdvv07Ec3jigpM2SSnpdpPqCHpmKbl9SuBvpBs3fMpqiiutEnLdHsHdNXPYFxWoylyVZP3EK20VfuEgrVggpkECOcoVoRvow3Ogm7WlduDqUOl4kabRdRSmCjFB7JTN3P4PqJmnpwm9ops/lEugaTGu1gPAkuahTjdXuS3P+/LiymURJ7qX0QCR2UjLb+4p6F9Bi+o7yGemEAzOkVt4LKcitnjRZBqgZgJrVrdCq5Ucekjc2azrGsWfKktUsEeEf3n8FlBkcQXh19j037Kx+sq9fhfGHQwn8UcckTan0mYJwVzsXK7cWdF7gQhLCE+NlzO8IK2MNQjdtaIiroYImb0doaW49/8HZ8yNwjCl2in1N/UEhGf9AR7OmeFom1rPJNGRTXq+/JEPJZx/dKxtgQNl7Ob/Fj4RlznPmSbZeL6JKWpa3MWFp3LasGrzN7TRulslEh/5Yi4nzyqzD1YR5Pw2D+SyucFn7O3bIOEN+0qfs0HSVOImTK1udpYz6bU7xnlqfijk6qmb7J7T5RkIQ2fPmHQxuLWzWuOT3juUOkEOAGhPRxDzvEA8P1g9QWP+jAUXNUMzqKuRCidrAMvbujei2H0YtgxoEwMOqNgUOweyaZtvL3uSlHP/iKUp84/oEzymsw02v2oXlhNY2TY+O3jo6ZaNZ/rB1sTdRL+PCYSqXqqX1lXct0u5SQxBRtXfqBDRC8CkAbrgQhTsygo7Gzs+kFeXcnwP2tioGnjEx9mUleXbdst72auBY1dhplbnByG6LseUvlmeSAvpCV03vP0TdaA/k5P1T4o+uQHXszyRqZTzbfYkviT83xkcHaadaDjRejZA9WjfSxDZ3Ee9jD8i7eHRSddb16R9NGlVM98lGbI5723afaLxbRIXLHLgL6f465CM0QeIa51PMmHSsCB7XC3yQE/GkZs9KOvEqjwXu5UPTxOEs2Tbd/g+2RyHAh58BPwCijiPF848vPOEB/F8jYbCM4ETtlccYJ8iNvCM/5fSsS5xaJ5wXLEP0NEByLj+O7Rf0iEZNCkrCSw6vnVgzoDu9bWc2Vfu52OqN88EKrL6FjQA7SSiW4qaDJBn5/F8sfm2kmd/5+kKchpHt7atWDTotKaUvLnHX8ShvrEFCR1k1GptuA9R1hduvbCirnX4Xu4sJC5Xm7IaLJ187ZEkrqWYOcstcShNbJ177e4Z8KesZLTdGYFy/2JpVo8tJs49dEKx43PjHCgKXDYOipcfu/+4nlctBQBo6+ZZOd4huogUjHm2g9zBPtrkSO46rS48qnrschgln3Jz5Gx6XLdRy9dsdZsR7tYY+DyRmrLy6a2vV7npTrf/Kt57O2VGWkzl97pBnZvW9YL+mdptqKX0vSvOSWiIWvINwIXIgJsRUHFaAgG4YwY8w0oJELMQVEOnfNoTJSSoEe6CqV5hMw2C+Z/PVulSCB0GhtTJcCVGy/UtI//8uTD/+yYvRazKJ5CUoHFRL+0RKOZfe1cBvxCxhKm24PgRQj18reaBYrLR/BgCXHZdJML3VS9Wxo6MEJIv5GER4fTCE3f6H9m5eQaz/745P0AozL9bBfkr8APS+fkwIQLYZFcGJFFKSx+l8tPmz/JXNAzvAxTZE0O3S+CxTLOJWRQSYUjBodQOkAGLlyD81M2JgwKzExJxtxIoHzoSf7wPyS7jlCbnTuaSwvpOVgLd/rITcSRxfp5ZXhgL4mu57rxR02gCPuEzMalylIuXFU51g78w9Of3gT9UvVjXu0vrZojdQj9JeScB259pcv9vNPWM7sLvduGmAK3OMrDsTPyb00Cgd9y0+5Ur69W71TU98P+8cn5cIbptm0YTY/Ai69pwfgwMv0+7N6uG8aVJdbJ9QTW0ksWEFNHR2oHyl6sHTJtN21PRUfWKKmAP/N70WumDdJ3cHKs0t/Gtgm8rvfNRDVofJQK1gBUFvnoqPxhjgPbPyujWjC63SGi0iH/Zp1BVy9yfQIUn/+x4sy0/Yb3NY7a32qyiFK+lSePt6+uuhiwtOa1HfATuq3gKgPLb6aanjIgyAp1HCiVifUVG+HtcSPRbZWfmNYeMNrWQzMI/9LMLAgR8lcURpCafEc0P1Ee0hcuzd75ujvaN+WorDAGFxFqdk7Cf5VpOyMAiW4K483wwuBRm9NUL5JV2YlApljlN4mANc5mkVzB/D04XCwdrMXjyCd7YFb449G6vmx2JT6KhVI6cnF5ECVXoUsxiO7KWOY0VkhbQ5Yz71FDNMgrQ9cTo/Danv1AtA/RHELyQJM9VB7snQT39PtGM7ty30sjzxMN+7YADuoywoVEeRmE3BdUPbFINwonRYqGS+sS3/is2KnGYoDZDCUQThFRSV6CJemEo9J+h53o5IXecKjip8fIDqP3Ub7bgqU9/93ecIuNabSAgY/CroMF2f3bqmWUr6wzy/SqLCtslYrwffEtcEDc0gOc0hqlgarqQmIgeyyJs4zhF/eIyKFQX31z4YXMkwQyrv6LRwpq284PJKhd4MgIc4YxvTtQHMKkHUZ94/c4w95hv+C/KW2v2H3hLUWWz0EUtuAgkmFZYj3ZDBkjFSFGmkTamFBfJpBQceHt52taaVr6XKYx1LuqdtCJxtdiefMXnO378eKFfc99MhzmhiSogZwqql7dMLyEvah3+mFgMKmPnGXO250XIEpRXSYY+XBlK9iujyI/0umH/YB9uv6Rl48U6dBvw4RG3Tr2nz3eS1o4qH7roiqoHzF5/qxwmlebCMLFcUcKms8Q8cuKlb10EQxPST/1GiV1SmbOfSHsWimXSL/anBk4ixrlTp+QpBOXrl694WnmobzFJPbUxnPv9oVdmTBMM50vsJXlecz9dvPlB+sUTU2sxmcyJUPepAsseC2OTTm8C8wYCsY4gVDgVhzB/+ukjKEtcCgs0/kUz8Fk+kik0kR9WPHnet0YNcMvRz1aBtOWRqEX4TwDsheobWSTnrRMpDGbqFHV63ms9zChN7JmznywnLpKa0JCBRmaCgeYtpa6sJV1mfSVw7LMMRj0QewIPM5v9sUukLsdI3YwwRzMzt5OYVtKT4sUd0lWM0nhoZdnPiG+CzGylHvbHj1IHeTnV+dBod+GAUaVgngg2m9qREXdDXgW6O8bxj4s+LVfEpHvQ3Yb72JRnd+hJTSCVqGCCJy3gJwt1cswPNumQQh34wj6cLiB+KiQJsmX0DtWLYbKUMRw8iN5ibC5ZcSzN3m6r0h6Sfozmwoy6GQFSHuNsBH7mtwtcmF0kBzp3UhnDeOZsUsTec5iaxNAZtEA/pRswvwEIUjLMs3Uavg+cR8G7fx/76jUU9+JPNTlyPGgyYZHYrcC0xe85PARzGYyzjgoopyFI5Fdg1ieEB8mQohqTq8QoI87re+3Az+d9zQQ9UiedRqJi8nn46Ve4fSWz+Pdk4c/0b4gXBFkF1kfMX+Dw02i3vUOEjltZu6BdT52ZDPz1xIKJ+iCRwqziR+NTAAyCyP95wq2pBT+dCOIEXJEoN6nV9cSEOPa7SfbrVUlc8JYp/oH+2To2GTQ1KMYd6nXPLnBRV/ooD1bKyPbAQf+SDUKGqC/7qnEF02pF0OFhObL2+pGazM9s4IJq33vkO7qKcuCL4Uild7vOnEMhg4H6NiWksOHW8B/QzGWxHK/rbKwh3s4LuLCgVC5gKiDO5AMKM4CGYE9Uq5SHdO4fg9H+nTVXQe5+bKxNlxc8jSMEgKacocHUgvX/hAhzwMUY5mnI2RpzDlhQi/jGHbRGelp5F8bS4FXIN7VpeJBpKZXb8BH0SQkAxvwU26Jwm+3ozBTF/VOBZPsssIc7exaax5FVek34/eKA7LLxu/zuQ1Xszji4ekP8EjH5qR/zh/XDjhTS01iIWQTEhM02yw9y3Y1qfQdVWGos1//lMqJGLIP536UOszr53kxu6Ns6BX2+dzI3oNQYDB18nsNSS40y/4AvCaVklySBd/2xRlu39JktoPCeNda/wcME9/cxKpDtMW4lgqLP9n1e/2cXTgXRJlJbVAiCwMA1pVx+xghx+8A2JxmMWpDZ/bw6i6Mb265Q48fK2oD1Fl26r4FpXRFsJFGfiuGi9hSSUVrw/vDbF8U7FMkvonxOPSA1uUkhqc1hqA9+SBxz7oh92ki/jZ5HeoMfYbE4ydSd+EJILFdFsLQgM9CU8ZxQPSF5yotDSv+EbpO+FX3tAQivBpy6mreKl63Q73wZDtoDok7KjxI/ZDIvJX8NeuLo1YGj6prQILqzx6UUKmRi9682vf5gQ7jSmFsy7F8t/N4EWN2j0WR9nTMhKvXnlRG+7xdD4+ioQkyoUYgKLjZx/27GSzfxR6b1sX02Pdra91UbMD+kP3ETXFOw+FrUGtmc3jh6LniL/E/xG+RU7QhI6BCHVQbbVr2/OEkGRVnpwFEsX9uGr1zLt2XBiaQrJhaE2RZmAItFrFqW5RbEq9IDe3OYaUOsfhtEXhQuW1QxmBgMQqSOOW6qzkeqomMXC469rI10YPYpruuCaep/mfrIyneaH04LHz9EEdlmD3DLNvgjoqpfieW5GJ7dKHZDUnpq31T0wZ+UTV7yhyFVbmVQwKLzQqZ9SYXhDE3ebca7mad7CjTz4TEAcWrjyKgKEyYoyIip8s+uuGW1VPEpoWMd5ADdtQjhOZKtJjOFgUP0T3d2hOIu1+NzQxZRcQMGbPfV7GJHzOw+Q+6qaLrZeT4K1dRphJOu7l3YNIJyZioR4sHnAtYLl/ovDatfSUhST8+xtq7SKQwneInu+qtQMT5LvWOZDcCOfS2czH850QmIbXm8KxBUOusYSxT2fHhvNyMAjRVBERV0rrNEbZXuszKQpeTb2YZtFAg2K/oV/fagEcfdy0JoTLZJcMBlK26WIyh1aouI4HJ32xme7bFYD4G34qdwJKaJwPOGcnrUMEgLg8ZSLdiC7VQYBjR4eBS86XRigJpP3Lx0O5v8+fnSqReSkVLLKUS7TC3IvzvQhIaeIt7L3rtJ5Mt7F4PXi7I+7CZIG5izohtrpoA0rSSFk299K/FWToIl2KhUWtf1qWSS93FJj1JxQveLGnxJsb6Oa7ZrJ1ACVzCva2uylxZXqcuWVcr9RnjMne3tfBEBLs/6WuAh43mLUBWTzvUZQ+yg8ji+er6QczzZu997KZ/AE+6qTlfbZqubxAjc1TOSkwdTrujyTl5xYhFaac8rWT3E1qDq6Ut8kqqIKPhpq2OcCrmSHE00i1etX6J4iDp2mUii8k5uGtl255p+jgKp6pSdpTw+xaBIsAtfmNmHUgxGmt2TEk7NrLBu64PZ37+LoN8Zf1L0eHW5P/1Zlx6E4i8O83oJjOZupIGxPen+Utpo35c/FTKoN9/favVPe8theMQSCpjBifS9U3/HKPhqxLSVPVi6jl2S0Jt2w0bvAi6SXBn1oryKzUJZhQFSosMDvAkCzvnGr9U36+ig0kkdygmxO96+f5wXxXCF0NgoePurQMOHlFOdjVVx/dDiSUbZzFv5tPOwqQ8fYlBJMYUs5Z4Vv3DbwfpLzmGN/Bjb4NITXCT0Nzfq+AOL906VQEhVuydKz131YiyEpDGD35Ci5r+eNXHFx3PlWCJVRBmoasj9aNjV0/j4Q7fRnFSoYg8NffKOO83VD+5xF2PdJtj3NdM+QZI3PMkQ0SpvnFWa6d1a+4qxUedBXs/Zv+aitZU6UAlpQm0DVtWICmEN4BPLxIbIeVd0AnnUxqgCD6Y/8MZLX9HME7WtBDWLm7NgpoF7CGCuxBnx4u3TBWcPL+e8d0y1kRCQVxLECYlZUPbjbrtDIW/C9/FLuu8HicDZrIdVUNlFTQmzjQPXpWX6bBI6ub1tOfsYiI9dqgMrAmUlcPg4tAFNCdLbdipadblKuA+5/n9RQrQeHRlzmKKEQLaLrkP8ySd5EGaE4mlq5U/WOFNdqfv3QygkZL2Nf16tUN3s8RNLlViLcv07BkBCmaTliiuYNiALdI+NhCEl7PGXV8BH0ybEPk8cEyf8D3XIqSfbPzyKpX7OG6fKM+fmFlFkpZpmiVczdCzUVxuVzhlin+Q0DLP1ctSv1IZrG2wY55J0syAFWSOGzPtqiHt9blhLQLFt7diYeWz9DILOKnQxFNcX7O6P3xGFPKtWqT/tZ8IhF6tHW6j9Qy5S2DflsuXjL8k8UBWMmWqDwRk4kfuv16eJy89uwn935xZywC9LaqOzNEXFsVvtAaBebj8w4PsKS8KUtAHC2MDU8edTGM3u68Y7W4PWO6c90jcidTF/3Axg1qE4vZ6m9F72Tk9/4piaS3zrbslqLmpU25Y5K8SWHdqGins0Favd9eOFVp9fNQilzyjw5c7L6RAYBzCesQxblX0woxMKTj0bDgvRoUZ1JM8QEbXBp4Lc7wUsXUdwBE9Dfzd99hRVCE0Bi7LnxgxbjJrVPPYWFXpqNnpfvRVvodTW6BkOVZ6i5Dxrxrngwkf3h5Tw8ziPkoNllqI+4UpPscWTWGKnD8EVFmkhcEyHFh/5eaavFrnM71TXl+wjm77KhTqRGaEiV5+zJw1indorp3r1li9LMAkAGoHOK+t1iyXH9i6uTAsibcXJdymGn7YsTwdPM/xZIoVYBeZN5OoQpZ8HafJhMNQrwRfbSVcKptGyWVDUSLUqk9GFG+y2CC77IoRwmzK8aGvew6zBu6CkOjcAqyjZfiKdwRnmqW+LGE9VUWYRYJucmxx/CujwwrpYYwIlTuEJp7RDeHQbDGT+BiExD7vj3BHfUU4xHKgt+WzYQQW9Fd9TTVJeel5gSVGYIzzCZ1XL2HGIA1ECpQK3ZufJ2wA83lP0wI6z6K5/qSn0BTvSkrw5Yx3LMulEGCN9GVcJOIWYoN/kGd7jIpsAUsz9vZi4ggx/Dd30K3zBfDrMv9OlRc+/jPJTwrVJfxFUJw0B9iPyjxzGaIU8c+wRKMmjZFAUV8cqW981D7Icp8s1f/Dl4SQGfTERy63QZzhGCyWY1/in/V77Ek+nnVxFMOCG4Au/hdWsCj6ZineHYq3jmA0VfY76L0UZN85CZDVvz/7nRtBOQq2dga8dEu9jCuAn+PueY7VlI1ZeWgYvY+wfPCGLS+kZHxc5d8eQsCLi3zFq42r0Y7BdRJw/6YMJ6kf31bVWVntd2k3siuEE6Vr72S19NxN9zg2G/wXLpL+VBGwR4wfBrNnSCzBd7QiLurp63iAlCxsgBa4FDmoabTu8Q7Q/0jcdojXb9+bFMbHMIZtLK98h6jVuUlbl0mD2c6jiEklIWNKbW7FA1GMMYqR7bqYGGbxRB7d3j0sraieVppOaKoRxDGpzDruLLTQHkynL9d0wAnex2qYDEv1IhU7//lmvWl8Yt+q27Z6JVnJOawjscJ7mw92OMTci6GBaLoOwHFF1pkfgIhny1juXB4WOMY+31vU7cpVGn69hsC5U7+KJaU9OC+AMoaNz2zrFgmcPw4gHtllpNyd2KDK+eWeB5Ujl4jpgOWL6lRynREgvCY0MM/CJr7tLBpIPat8JAa5ESdLD30PjAhnFZGU9aYo0pF0gl/PROep/kl2ji6DBghxq6lvOTyLbtwK9CWrPz3FnNztOgVgW+mhFqcszB7PwO108QD+dWPs9nmbYd+VTY0pU13NG28KlPl2BwvHpngJzSAu77VvrMgTEYbcNa3rWVCsclK/RUCHH4mgkVTnuFXWjTc+bOO6fmD/sc/fOpPfMiSffLtiwNFqp8dAJPmJ5TGJG9m8aQV7JfoepnhOwVn3VcVXWlTNKOZ2Ho45JVdtpHUdwu1ycYpnQsuGH5/5WIPHag+KaWbsTLpT9FLi+8d51Vq/kMf3+xwTOPMim1sx2d0BTlYvoyFv7JVZywoRP8Jd5Ikxi+PecpPv0vIgPqEAbPdHere0nIrPFAhjaMGepLKtg8NfhcdgEZGEanTv+FsyGErgvQYHKzTM9O0tF1fuRZ6zKqhHs9ltrgTWK2xrOIaI9q3ULbUWgpj4f4gMKU0kiXoZJn3DDAiZjm88Pns1eWa3fJoTzIVosxYbp2ZEE3k96iIvShs/6PYPr4u7JueFsPKIL+hw/+tigpRhYDCXT1D3Qr5OdOp6Eb+F/CHJmscrAcFpD4n009Gvf0sXCe28wALnsAGsA0nFqxG0HGW0hY/zegKQDotGxGwmotdB43wW9ejG3VWz8QrvBc/mTl5+0mVtWxthCa21kMm9MfV4baN1sbWBko23ug6wrkUvyUDMBIie6SNJyZf6BrcdqJDc9T6c8O17R1KuD6cx4CRul2mNQo3kRt5+cUdr0Rn+kkoG0dQH6rY7o++9p/R7zGpqG1oMt9VHVh0BqmtiNZFuTX+juWLCDGmja5t33ixuyh0g80ZvfG48AGMwOWkPGVTpbhKlIEce0uMJM3kueVKz9wBULQOMcOJFpLovhzeoPhtGG7/vv+fSxeBlS4U2pL48+fQinP6pSxfFQs81tGHQVGB5U2BUguGsdm4FBzTVnrqID/WEoJwWVs8D2hCAN3yTb+vpt+N2cEezoC72hZy0owjtOV83UXh+SI0W0za1OaRI2xj4bcV4a4G/5fZPJoIkNKTcfgPEoHtvMi+TdfHOOfHd37uViOPl/8MfLYkThWjdMYIGw48NjdO2odSCLYTTbXmtiFX8ylijFZwB/wULqu93UDdcPrSwr3TKHw0gm/8EIbniolzxKZgoacQunNrxU3saidNZ6Ympf57VneV4j1g0M3TBMTfOgETwzQFSz+6XhZD0iKV3jFHBNwxBdKHoGtTRTXgOTH9e4qkza/edsQsG/eDEZMMXcC9CE+Zv69Vq8mtXMDQGHfzVXEQ4YqkHSHZETsUQbJJeYO0DsbY+keKBfqBEHR6mFzNIaFv52GLDbBRayoo/zjoeXe7j65YrkCd2DoXf4t8N5lhpi263sMJGEONUoIUJjO2atxSMts2eV+l3vngDpdSf0Pz08STmaktdhRjVe+G+VoO+66KeRN9zJqVo2DhMgWy77ja80o8unobpp3m+pCqCqPJ/QbVV8/SIzPPtuRted/qL8Qq6hmCcg3RaQ+h5M6W9USMuxKCKaSa+s9qX2Wyu6M6Wqazp9Kh8kPDno487LfypM9J6faNXvh00+0Jc8J6Y46cssA4QW2yT8b9tE0JbAmrkUx5/ZlSG4iCBi2dM+N9gzDm7kLQa0FyqSgkVQ4petleqbX8Z7WEkwJ0/cDYOCn+gkh3dHWqOpu4S7e3OE9DAEteOHA8AlMMFYBUcYnDZxKGISnn7dnoJKmnhQ1Ql1nSaj6QPBnWHdT2I+rgURbOmy8/ZTP3TXedj4R50q4ifFnI2/LbGpoHJawnpTAXHhWl32ZtZiCpLobQumXe9z+5Ip3mlL/qDXTrNkONveR3CNsEwf+OPVo/mYZ8kqk7SflHVvL4OY2rgQ0+1iXy4S17E55T+1ZVtdmfS/Z+1DxEB8pSlcGPlAdSOz7EWQufcUspSw7q8DPEiWupHcrSlGkvyRmsDArPwHjz62fpFCJayb5rT8u/NYHdGn8CklUUYlrO3N7ZR50gsd4hQSHhAy+IfTI9kL6m5nE+v0Vq2VxL6RJpo7NKZ71Gk7/3OW5hwJjKWn/4M6hBa+yzltzW+YS7STwarn0r2RzEf8hyl1mwVYGeNqCEm3UxMkmAIEjBbwZPt4+KUcZWvo4vBUTaOevKuXWLH5DXRvDhcMUvJEtHIIyFYbfx2tvE1HVEySegxt1sROA0OkzOfG74WqMyKtQvZud0trSsHPxCVFGeoJw3NV5eycVMJx+ouX4YjM6tNc7Phw72ns+/XXpVljgL4J+xm/Tahb5m51HHgcNF2mNYkfwkOji2/GB6RxicabQT5lYO1sdO5FaEmG/Ba3dWcpKE3KP2nyvj740HGKvJX5xjwAoVtobABD16FnRAkhrJDtAeqwl3V7LdJGr3wj/W5wSW2dkR2bMX6mXSWU026Vllzeq4WZAemq7SfSwZoL/o6cdSkswEQpCeTENBmwj8WQ80OiK1OcVx0E13F/tPfwcJTfuRRQ5FIOeMtlFOJiJqpoJ0euq83P8rKBn8sYD6MC1It+1DfCVP2mnuDGkLtEvlODS/MVF3isWjfxsHIu54V5JujrmCNsDNOnZCVLhutzOWKFcUny9XHaJ/Fhs9CPYVYSvNRn4ZydVVEYyK+dQ/Nf6FMKlMViHLA5IrEIePNh7wF813qVS3PMc/C4tKgxYbCpwUmBPoM3Smsp5hPCzv5UacoFLGjiCUSzRh42JD103tWJxewtNp3R/WcmlXcHDTa2jZ4zgjRNOpw8FhIcZvE56Kc5P40YDlsuf8xH/xfyOsVANaM+Ni483/metmnvenFA/2hcaVx6kN0pb6eIfrbdkj6oDKNeSYcJ8BcR5Qo9ZNY1qotehuqEpXbEblogz51tMH5zrJHSRUPSDLFGiL+v4r64Ix2xsNK1ZJVE/a5ePHKSeoOUTeDnfGX9H7nwpMMAiK7GpQX3eqnHewulYulMdgMmtoR1QtxojyxpL/Rw05WSXmVhYapgUc6ix688Kk1jmdJJl3QAaVLhHNmTiFSfkSyY/9APv/OFNfx2JN7ZKWnPVM9cJaom01uSX2XhbdF3bZcMZAtDdIPHY4dBHpSrt+6auBx629zHgxz4qEReBeKNCHpY2p61ZNA8WaBpd9cK2QFlz+HZm2/HpCbdbFmaVjgwIwb2q0FcL9v6OcWE+EiHWiifG10bEaBm2R9QhLjBNuVGoL0Xmvncp9L1c6TkqXnnvTBf8ZQhu/IWnCnbG+F2eu9kFlXh7In+dSa60FRWKPUUKCXWevBIysECxBQWXlLqHa4udnjuWgybYBD1Kr3t4+jsY9yAJ3oRkbMeBVnTMSm7z44mgD78C+3utZMoj32S7gZeUjOuK4dmz00O0hihG8A1z0GcMjrp06jv/xouNlJsOjLvkO7X8BnqTwBqhlpvJUjI0eQUSQmP6dsLWrS3jRn1j+V69PLFYEgwrCc+gk/jO6SWjrav1QthnTiK2JBW1lMk9w0JEFrgb0QyEvc3u5A7MGmgCy4jtJ7ouz1Gr3btHe1sU+pF0DPD2R+TQtNgLafctVUpTxeaElVksJp94WF8PgcAu8Islmx2EER9+nX0GGHNfL1w3BD+zLom7c4iLYlnbBtvw0tFjudpt/vEN6Gml/diZBDPWNrQ4ZUDBT6nDsYAFwx6trCIv9J7fVimf3HN3zKJwHJCKqudFx7Ey7Vn1f3mjBoHmYRdfLTH45DG+lT1XljstKyFmekqg0IPRpRQKIMYcrYeOz9r48QVKeW5Y3C2rLyF4opSapHyYoi+2eO54xSeEhMnIKEABTNsnTVbVi3+bT/KcfBK8SBt/PxJDmE0qHHu/vaK6MpQOFNbOdrbMCzuTH9qAi2M88ivVE76RR5UvYAgNgN0LGFLGrQohg+RNv9ZZcnen4Nk7qlhbTFl8SUcknU9FLrPAoN6bBZMzerv9tuUTrAJNtub16wqXqHmcwXblA0dfdVWvTlBcXTmE60EkZwnF2Tk7AQ3aCuntWjYZoKU7rbCEvxirT8BpPOufs3RQi5xpButC7e2IwWspNy8uSLxjyj5O9TDh4aej4Yefcrz/ttNu68NSVxmYRb8ER3QltoJQnMeklfV4AmluilA6FOvQsWrZ2h7c8xh4Vy3OXGplQm0nQ4evB7R145Mk18YBgnA6UFUIJ8+jT/tU6pTEIdjsRmGNozdieFmAQDUJHIfM/F41+3cRxxNYVxcxpXY340Oq4YSRyCj8P/BCd4wWvtcF3szhaMu2Uwlx+iz03QkYZ78/8Tn4tYot2Q80m62FGVNGPg+od4Fi6byFp3QmWBAKzmQT1wbxAYPflOmCrxMHBzRxXVLMFZBBFx1IJZuSHMUyDkPpYp+MaGX//kpIChkK1ElLtlm+PMNGzOL7Ks047Bg3kB1OfJvLBwyKLXamZAOMam0GB4sFumRCWueJPw7Brca1lzY6ChvB20jtmc38wh04nHtj9sSMyKAW0YIl4e+zUuRF3OPkrxMF24ji1J+UnzJKqo8FsE9etZmMJjuaQFyAyB4KKA0Fhw4WOAc7LxeiuB9UmVAN5b+quBm/HKrXbzlpN7I4qQ9xz+fPaJpD5tJqBRZex7NnQBZ0WfDIZmbZhfOstAD7r2rBRbGe3VM3H/PaB/kGTaGpcQXmSYVaGMRDNEUuZF6yaMbR6UH+qcz65UaM+2GEe1nM4YQA4SiriCes6YSPp2BOgh9qptsORWyk3jhIfP92v5YqxdDqmcxMG8UyhAy9NWa1a/IMMOUh6zYBpYQNzNE/jXa+/pHZR7C1hrydBUPecRqunmGLa30Qit9XtPsubdO3BB4i8oC79h0angRzPdIKKnirKJJZaryk06qUvK6U8Dcs6YayrffTyz/2hwqlOdvB9Lpao4Zn3l0BOwkXCAqmQYDuCshnAGxtg+L2IqqKESMYI5n+krnIJWTAlcyqGfzxdBreO8hOTX3EDfC+bXRIT0Yi3pDayJjCa2Hcyzibi81hPuouGvNNg/54L1zdF2rBzt+qUrLgQQpkH46yAglJkphKGSg3rA7H+GBCm7q/InawYhCrQOX94k6FQqvRkl1bBcqg3872hNEOjIHh2MRAIOt/er5i1CI4ZPkX6EVv9PNsGjlq4I00CYmzcI7jK6dfaa7LJQq+OkWIU99M7xj1Lq04yoSo94Z2nKY1RQ2TrxBuy0csD86Zwd64cPrfFJYER/JaInI6ATGS/E5DUaIQ4bJ8+Ry197NEbmzxSx95PyU86I+hEflv47ZKc+TV39d3//H9Ue5AToVtcYZ3vENqvxIO2rVw5AE/WM24UT0WHuHv+zUQLmDwA+nYgfP0UHisls5dTAKV4Xft2H67md6CLxwyFkMczestBQXWKjigcrcMkuW0v/nc1RmOWaAr+4cuQWFHGa+iW1+kCVW4hlifpB8qVE7sKeOLGfIGWmYoWnMqCrbf1XfWZ3h7VI+6bsf1kNI1c0A+wqUR4IoviV/3n1AAyCRY4RDF7Nq9hohXr9IIex/nZU9r/kFgRxonveLqmOaGfWGX/sjIeacMGbfksikC2NwiLasocZp8EQY02HyMFft2svOWcA3Yoe9jrDpAjQKFUZgNETtlujIa87NRhBPGE1aufo2Gsf3BrbvOmT6pJ7Rl7m8qjtPrHtMEy0ildxrh9oyhaoeIlGNzV5kQDrFv8Folu/ng23gnQjtk3lSFzpO0AALUO7TqHKP5G42JnGXZruR2NPXX/ZB0UivypKCenALT+RaHY/MvN5+HhZoBSn/lpAQ0cG4g3TWzJ3SDX0f6xhrMXCQFps+RN0fI6DUk/CAflFUDGRQ0yUpombvvXr8N+x+s9Hcbmf+RNglPuuNNCNSkLd9DTSBRABkCS6hffpHgCEraIDgMkrH4K4rmaNyQxyB9/LThSz4G+waTRr46psdIYGIznzub5rqwShnRQBQjIcJqbk6YaANiezYvdUql9BJW7xBFuOEK6Vd4hhLUwJlrlAtcaP0dma41lS1nWcE/omFeAyjhqaGQyBEGnywxM9dCkcaka1sRCko33fxaamC7O8/NvKaTTrGYTcSJRv5lFv9DxSzvu1QgaOGwuxzxV1oJL76GwhWiYXjH2TkTtVCuqlQcV3qRf7LrwGVf3FSRtdu/mW/q5z8KvnXL6BFngY0d9vPxu42yxnFUeFpmpzEclKR0cBqIbCYyt2T4xtWx1PqGg2ztpzN+3YIH0Uo9c2knZlgbRauAnY5IKFoW3A2uMNK7P04Pf16oRHa81KuCrq46/2OYp0D/sHA3BhgE1oYn9QOpR8oyxVNpiB9xc0FJC09A3bby/wErF7fP7LEpLNN146uVp4ZQq4D4Wm6nu2h8ZUUd0Z/ROu6p8m6BSLnXk9C40mlAlKzioOOeMeE+9IKePb6nY9DqXJnjgnM//6I66ykjmty9XZ5ToYPfDGiWK7MFPkWoIHNwCAsKyDcibRyWjTVJNnHhzhAE2m17TnIyFdUhk7VYBaIeOjqRcW7rLXQakCDgRY6OBeHNZgODZIVgZVR2+h58TJo09hyNnpOobgbMwmUtGqwWGMI2tMruxswkpJ02X5H6Sbpv2ulQ7Af7TyPi2f/5wF9Q16XA5u1cW2qpUTN9A/1u0VyIxevbkZe4cYDzdk17k3qT/0h7NxlgCYyYUpO2gq0a3dVkarvBminuBhEj2yZUCSKdh11U3ppx22+H4nxHA59XANCE6w4a6lJHoDaUFObeLXq5BfuhYe0rWa2cYyNrIg1PT1rYCBV3kGmhrLASBVtZi9QgSGT44koPNw8yb7EWrAxSGQQc3QV5qenjkf3JTK72fIdSRfIn2Oj3F68WZ1jnaN06ZIs8Q2P5CSAV7mJS1iCq+44/0+GVeqJmOiq0TZ2m3SODldinTFW2xfq8iyBaNaYHsXTCdNSEH2VWw6DPXnEue/B1Gdh5IG+/MyuMEYGNyz77qAvcodQWkEfs5EqvZlbvLxsUW9alwbiQe3jJSbzBwUU5gN3RVixnOIYa4kLxwwi8uJmuiNVSR91eHlUFRG6AcNpxGwSg9cqyFAe6XQ4chcOUCMuqfZvlXBM32eTbGb8oIa9LCjUIOQoLO75QTC4cNHQjIpvbD/J+FL7Bt0CxK93hkazLD/UVB8H6HANhMOFeAkvnIa21RWS/0rAREA+U7LkPQ9W6mDsCZZ37j7RL6OgQ3B5qjI7DpJ3OYxCqS4EP9X5+9Mg8JGp9AU/xzzPL/UEBiknWj4rOwk/ruoiqvek77pzZzSHGYKMeKxVzFSf0B+5f3Df+VbZblDQnvPli4CugVgORXTN7t1srM09BbR4bYjSIi5B9UhBWZUdraNju86Kqebj8/Y7KKFHGN5C+g+5kI0hRCjRHg9AQxM7NPBNM0LydSloftaJLOnLN0bHQr9Q+JUtzVuLlVD5O9m5k0HSQmgH0JoZbwisVu2oGo7Rh0RtSy0sF+ghWRjFcLKEVFr3c29TQfEXnGpjF8TMh1tRiq6dtIZevN0o0BxlwzMTDMpcumT06hWb/0yLIfQkAXBFoxvPp6RCRdUU/1qJKLO16r7l7zjSoAapBOzoEDkdxkdz4mbBpVx37Ws+HoyT6Pta7hlBJUPyjoji7vqXGtYTqDBrNAaxenliI6sIfR3AZklDW1G6o2PkMJb/PbFRN4doQ54Ue7/W83kMvtJGpPhuyv6dFNU61oTn6Ja36hgSIkLxwm2qPRH13YuHvM8mNpzLCLNLrvu4B3CC+gkknIh8wT1HRvR7hpyfKBnPBwVPhGFzdMKm4BSwzN6V8O9E0SPkk3gJPYZrqUBHWV4akY5dZp9IGx/c5H4hoz0DdKBtVXYREL3O+6Ds7vIiVzvImxhGXIH6mJJYQ78IAf8vUuJ+ycVjlNOxiLVjogpfI8lDEuin+Z3kLsytmNCOE35hsFca09PEY9ewt84G8OxgQp9dhZrtkZvDdYLVXHi+EuGREP3rEEnpe5TpUCUwZjEqSRvs0EoISmdbyZyCUZ+SAXdXDI+ltUzhqeVKdv6u7lGU/7TnKW2MBT5HZmY1ISSO+6C2XLcFMlUEdKwQzBfdsKkF5LI3NDX+r3sre50r4neFLZz7YgmehQhBvRp5hQaEGD/jLEIV6nFDwWxqbKCNLNDh2rxbNbvXwjI8pcvUj33JUxahsvo/C01XtKMti5cGbaS+1bNhXFRE41KqfZYaJgXL6hktVlmSiHJhUeG8ekwJm9mMLPvhUvZ14VGK4vje4A10FHffSjSSYs6d+nynLeLtD2HOKJdiSZmuRdMaGsa5F00KzZIMrFzvQFqW8C4Ffs9Aw1bb0GMBfKfwpD1mRPmW/ZUSfMMYqEgbPf5t2oyPkV2uK70hiEXlB1lvyzADNTiSN36OKzqOrWmd+RgAstRp3yGIqdB2A3q2+s9pjX/nI/H/H5vvHkfveq6aZVRM0e5jKJ/YqRFGX8xGLWRGlIbqR5eZiav5aRW3mnzjT9Gq5+32m8y55sa7CnqPvFgrkfq6Nf0W5kAQ2Mkz302k2LKdcnj/U0S+27W3zvZhdEbCWZtwZ/h7+8935DVkqR5khzo/6PMrvf04pSmgl5Jwr3BV1UPrTDFoiP8R2NJs4hO+MoKd8urPzQDRW4j9Brq2U7PggYwELxj4T+RLXCjo0w2/ChMtH8jhpF7GCoPZNsNEoXTfLZoLHUnrY119iF7vhsg2e8TD3U8oJoi6LaV+NTjDYNPAKA0RQiUheDfoIpKm4iCLpeYts0Ep3WRmcSBgWb4ik6o69hAOh1EaCDGiA0M82yVPseD23BwP6QekmQxkLJCsE9bSpXUV5w/eVlIVlH7uFiKuLJ0bpTze9aV3zzeDqQ6wB43yaAtn8GL3gfacZhx00ttcVPjAgApBjlDUOWlRrtbMNCALvRP96YSTM/AeqAI4ElWq68/C8+UrKqQWj5h61YmWUiOyQKRQmHdsGmntgcAQoBR6uAyKnOPnO+hMwHhTFOmoJaH5muIDVsSSOoiArRtmhKgdTxgo+6HCt4aKACZGBSUlTVKgiLp7/2yG66IuDTbizAHXXYCVc2d1YzcAcUEUlikziGQlnuRf8N8fFnl6CM9b3oFyDPbx3c91wwWQojMagkh+uOglvwHzPY3voa5DI0ROanV/wNyPTkLQFnOHeyn5dd301SLEmpXPaVcCHOIdFSQljp2R4RzS5SLMtkvN5k9wCK0TwvoRYJe32jeCPLUr+cYa7rj167gNGrGYsQLZdrg7L8p5c2952QIXzewfkTyByajKMRBNaxQvJqWfYkv2MqFgtgh79M2FE4nL9Tz2SMqOFtcyupjBbtveBaZ2IJA3v0zMCylP/d6/Y1aCtKYTVA1LasmK0KAXJOTLOS8w/v00MdH8taVUSFdE0RcM/dRCjsyJIcUI0E2zLS8ZNTMDhxP9HNXFutFiwjLBj92XTLmXnXK5R8/HVCBdlMyyYB3ZcRuG/s7pi1cfWwGCXOKLl/9KYx+uUB01Um7SVqvjAZZS7+kfpNtSHXOa8knxpEYQ/7N3V1oRcSFEc1jfF3nDS39rA8oLi6wN/f7ugpvyaUxlN3dTdaqwpDxYtAsAKTSIkZ5jNAfSReTQAQ9EtLJztx9uEr4RL3EZ5MngW8XJmiOsFeRfvjf1AcON5v7I1DTchFro0qibiiPAtoGLhUDg/qRenfaQjFqFXJGw50g/2UZIVeXNJ4705vtp4DbkcBIB7raBy8/8TFrntm2I7ObskHHLwJFBcbCeD0Rydg0AoJkMdCntrwyCx6d4TF4gcctFa94HaJHotZjZ/NGjqk5UgghCwjIZk3yUB8IKla7CP8lq11vRbjy3n41+bmHY5n1d0RxXBAgUITqiSspc5fryFCigBG5nZnOpfxgt4Knzb249uUhyrKuSkL11l4Va38CwCaFusSUM+PocpnnzXYrorsNjB8c2VAnjG42a4+fOxtz0VaHuasz2Kgr0i3dozNCf7B28piksy/FZQ633FwoEuCIq4HsqR5tQ2LhBXbXLhuecQN6XvEMRE5fIjXQMx5/MAZA672l7Ycp9828LbOymS/eqf768pUVW+tT1ne2MAqBPiBCflA0U5fXC4T/fXSSqQgNTxLBchrNC0ueDU7Fy1n6NccH+dr8lKyUMSkood4QZwP1RFiHmkwuWFuEyu1G98YPOwP/yrWTxntHaggNx70+MgzzjHv660W++Npe/0SCIJ9hZ9L2jnrC/ridC7CMy/LXiWyzXBBbLbuBGr4DVkBXzrAqINXtt1K9yJV+E7Vn6pm7803L/dEy8N1hYGdtaJtSsC/+wgV9nVxAmCYltDLP04MwFerKP0CSQ6dArxgHaJ6PAjk9vOBFBthr9NF2MUrH4dyYsO+Ucirw+YAyN0luyl3HCzSKDRueKNoO78M9yTydeWYSxomuAQyYRd4056lMJtz1am02QU7wunGmhfY8p95An3QLtkA+cPbPRT28oOsAppNgjBunCy3VkH9xq91wV25+bJ4EIx4fAuaTrrdmAagP0eYhGBg0lWg3ylbReB73zE/yLTGcMRA0eSwiZuH4WH1iijFsyvXNoSV0PhvUP1y60T+VRQ12beg5aLO8B3qHIEgLYRnDDxqr3OJ7HIZhDz0NxfXkRIHX/2yvtvz6feG4v1XhQgSJygQaj5+wIyeUBYSE9wx6yASbzQYQ7Dq6aqFtPhdO3zNA/VO3VANFjF96Z9ZR7oGysIdypGYBN0+eLYdwadcqLBbUd9dINiEh0qzbLGhX+ACT8xuMLNF8J9l5r096uFKPcKBqR/ZVdXlcheJHeqdbu7ZuFafu1ZGEZaOB78UAjagOEJwieJ27d68/dDe8fxPEZM4biLZWik21KxIaisFEbLUbKFbnFEl7PITloMbDJKRaOsO4PQ4cZNZjWjMgxzfN8lwRbWa5DX8zgy0Ou6b1xKPdINJQAnaLzs/kABs0YlzuTfZQ8cRSwNfvLfqiS+IKEOSv3bD82QNQUyPbRj6/qZjtTB5YiBniRB3GO4pSC30Yn9KpQPvuRhYR2ecT5N0TJu2GlxkLSGNqdfPR0OytRxxjnEZl3fzMOuC3we1vQPufCE3AlXFOoz/+Avjv3ezFmF4piVnWIH0WItywOTJIZgKjkBLMhszsoNqbozLIQKZhBKdOxABbyKngDvEKKDu5ep7pmefmGIhmruerTiBHzsGmvuMILm5WEmihtIEmvokbBqb8b1eeYb9wdJssIilBh2ABrUm/PQv/v7LlsHU02Gr0Ez2Geoug3o3N6ESVsA8iRYqfyXDN+HGri+Zy2DRkVSsG3awubw6LJkF0m8roLaeg66Oak2JLohCwvHCeIKj3rPnHK7XTV7sbNRdUiJSvcZKp7t7GBMjtdOLr6nAA0sFkG2/O0Q2HUFxbw5dlUpXZ5j17Jdr/NcU4OQAu8BM51TVwV8MrJXHVKdQygZ9N5n1sD+iIlHngjSIbsQQeQQZoORVhq+UXjVyOhvZTeyOK/nBtgZ8QUjV3vhDAovxHKheH7fOMM2v/hZyqxgf31Itg/BVmriXRk/j6bjCEjlJPF7hWDUMUmoaMwtxBUzZlhJj65DXJDFeMU0xnOWgvnhmgJTsvTk1TCYJcOWpMyubViJUnkQAjToUZXCz6WowHSKBssG1S4HvJZjBPTUH1JXbqLsxqknNE95tfYRC8Yf+kbTKzTU5sORMV9cIFeoq5uA3ncQ9xR7Jlw0f+PiBaOq+jjaDLAqZoePCIMuYEm2hftb40g7IeJLMe29JlsQext6KJE/X8aNIVMmeV6h6cxfWjocV2nrs7nzblGonlx+xU+vWovTPa7biJuxAw6I0gzYjgzszy0jYUVfmkDCJ2Y4fVlB0f6ncuX4b2656ue0ZQoRs+w4Wz+XJJ4dJqYXuA2Wetq2oyGgrkJqSdi/bO5vqpIfA2x8QJteLjM8bWZmsLqVwjBAAZHp+E7VMFSwxNRmTfQ29Q3FQw3kfv85KyPH0ttucL7q1Mm5AHHev7cH2bzGkMfaywi9bmU56MB2d0DqOkEc9IOlkBA0Ck6yhTppq7rl7Y8DlzuLSnBFTg0qCI2CJi7VPePDn9OFdLEjRxxWiB2EYvqHPQCeG/ICXNygCn+GzWEcn1MHW8AdxsncGOW5Mn3pWHwybtxk7FOF+cHVNJR71lyw6Xd8pVD6D7LyJC5WJ3tt281HQMGHiTISBGSRKTwKvtoOhpgvbK81eRTk/+H404K8GQ2h1N5CB5wPC13f0rsN0zaxPKxHpG28A0QyY6VIvINfpyzWXlSR10v2jK4AhlI9j840Y+WoorJs9rPdg4fUrU9FZovc0ZD2EhCn3lm2jeugfdOiziaHvOy8tamCjqRj2SsI7CM+lyo26sW6jdGCXzg2ircdQ2dAiSLLqrwYADp9TxZ1UKc8f5c50KMkGqPjXrhzuHDICe0d/FxpUdwVv1yS98dPZzPpyHpp6DVwgTbUl1m181ygzyP4Ei4UbtCuKbAW/J4DwHHXeNk539xhQuM2JrdoDw3vC118AjfmmzKPOaj/6myo+Nq55/jbyrII/F+X9aU6k3OXFJZVoW7xN2kKGSM92fAKbFMZ+YGuCPlDeuSzhEeNyvvKokTGm1YzH9JR/Fgho3m2NGm/U6/bVxJ1pHtVCNxrekiHZH3J0naNHb0gL293K594dK30+FaBZsDw40RtDB+TSnL3UDZH9MC3UYaScg+VOj64C80SBfSr+/Iza5MhQXwSYJHBbK3SLysgGqnY5AQsmOQDvSDwoagTGXmNROb5mJsqJnbypXCJS1aiK1u0n5VhlPXmsUoW3sRON0Q9dRD0NNiFtlZXiODi4MkUc4Qxg2224abaCU0CUqi2RGJGivk25/PeJ4a4yBZQMax8xfINRGNK1030F0Qm5KsdH1KHYLjGLDoabH6wVSUb4vEJRQLCWFYs1VnvxfITkHG9daGQHbJjZb4LKr4TN5+H5+8mqvsygfmCvRPHjOpH57UZ/2mEdU0sfyT5dxqq9wBvt2kq9sETblsY1p+rLylLKKY/A7L5XaMA6Q2oQTXHgjIZSpu8I2jpFC/UXflfbKO0f/HFUXh4Uu1Aa4wSf+G16ayvEafu3tZI/iwJJNTC+Dtcl6TpNxejslKMYakZzehFah5+jT+Kr9gOn+TQlqSbkCkq81m720hLeXC9StlqdLv2GhTuMOooJS1nGywQl2C/5X5vog70mNFEb0rvSJdHSgD1cEGveBafyMcSnsJhlwHXRqaOfu7qHNgB+4dypFqfg6nmU85S1a/aJjC37v58PRjC/x48Aq+LB44Xo5fvGCn+z0gT9ivJrfFHA0YbJ2nU+gUzv7WpMSIrfjgV/omg4YhKLwr0rUCBI6XyE75+ckvi7rQWpm/Bdly9hBYp6NnYYdr9LSxjYOyWDfYOXrdauirqJZj7HMTPUCTlmE/l4/bJbWVvhPOBw5bP1zh0g3h9uf+JXeuHUl6QSv+fUAPCikDvw/2tDCSy9ThDzbT9HWiV7Ez7kc5qeRe3FJlGo33o6ghAyPxZ3oljwCIUatd15xgGF81hi2kTIVae24xNUra8J49f1u96PRUnGt/xTOp2b0yh1NpQJK5oB7ESfT6fPfFRfe0H4zX6yEOriatP+XAIDxNZkjGLtPxrdk1tcH6FjMXEwPCJNTYD2M1FFaUd49AD6KRGHtgHVkuYI5d8PAxnZKp+ikDm66uASLJI/DHB0B+vXr55ZOjpzuHglcJs8hn1w9GtfNBi5eogIJsXljzWAqLiKmfsaJp+M6HD0z/GwDzvurCIWfcu6utTQOBSdaYP7bMYITcPhTEOKmuCcAM7UyytZ5LZEG2YCnh7qYjScULbX5NZuZW+MYnKr1W8jxCLgueibuPH++SglfVLmOO1whtSu2WvqOBPIIQqn4fMCkptYpMrOCy2xlYchUi27KGgNJxE7O4egaygPZ46orViibKYE92DAzAUcHB+gLhUsDi4wggAOHjuUELVQSFCaZZVIQjtQIaqI9wbeF940Zey9w7LrGODXzqD3WI9aDEqwjFB4vBHJIQLb3s7vRp1JLecHCIQce/o9P5n8eZd4PbVAZsvzMGEcb14/oTsKN9SP9NbojesV0VqYK0ypCQD2BdX0BpJ/sbAKmB671F2/4Ddn8plqbUvNmkrjXkqjXAeIXX5/Aneb8xL46C6KG3UkiQXJIOVTlJwnWr+9nibbMPw5aC36OPpQbkmkZKQq60QpJ8PAeI9BQcr5if89iUmRyoHyP733MkahJNnbH4r1dZ4tMlcCykT0dWyd08SFZbdJVSpG/Oi3Qc0LpFaSkI2EVVj7bGU5Rn5k9L4jPuTYgP/fwQh8BWJ/3Apqh8AYwKpcwRU3zeK+HCHyyjsSVfU1KwFWWT1l0zxmvt4NuPd0BWOi2f99diySjRoJAw65A0hm3/p76T39h0/jqGhz/lfZVbQWX2+gFpDWDeEJyDMMASpPhvI4CDs5WVC/XCcRKIAhVDaUbXH8aEdUqINkw+u8ya+K3esa4sLcXhpOv+Afew8CtoUK3juseDxx1vXrw9KXV8xdoLlVwVubTLHfJYpM6dxY5tTzMbDbaScQeIRh6e53S9nnXy5w4ZI2ONWJThNneiBRmTLFVMSXXVKpw49lV3DEA7kcodwrYWk4TdrDguQfgR12EMnUJ+enm8qEYAjvN1DZSqwC9lFUtea7zEJJvjUH/BEqXOuAcGkB/IewSSO2ubWpe0GQUIaJGSyBKj217UARtNeUKhbCu1P40M79w3MZ2IZky12ds0cyW+HwOVMzvPuxRl1fOnPwwn7vBlpvx6d1Jv6dOiHKDuMNzZgaQj/YOigSY2xXPIQpkkMmWOjmsX8Si7iuWBJCAMWuoIhs0Q6WgpfpQ9mVnK4b25olUxU1jF9JIrV7HRhzTtG3cGc6NbcOfnGvxPTI4A3nKGqzdYElS9+EY9He5aqwFaXoKjCMwkf/3+EtBULGTk6BzBxvBsvzRW1r0K+frlNfS23LggQUIvILvVbzluj8O/9BeSfL6ivmpoXsTk5xL8cimyUqcSaPfoP5j/ROtAF6ZgTjhGISRK2QJFPasJ+/DPpaLe2ofXU0g24dgUkR17gG+19VKSiexL/7suEwOgo4hveKwf62ZVDfEsO5QpEdSWi1qgUSQAxYP29e1lKOxCccgvkWO/euIhOMSDsG2E58JwAtz0WAodjYa0tf1EISAX/Z+yrVp/u2LskN/b/2qQsnjlkd/dO6/v5qV2uXKgzHJQCLawhFRkIVao1pBjetQwru/DNLCRV4M6DHvSzpqr3iP8BqnI+vnaMiUtUSf5/LRsWQwKXrZonX0K+ewyC0rvYSPkHYVKyqTnuD+vdjxBgR3oqATU6PUj4H8D9x2nwaqs4Iq7FLyKOvlCCiobjKRNGprc/dHD8Iu4Ba0u8Hn8Eo8+jKXmD0C+9DRChtM18m7uSYT1KF86kfGpBBegPf12u9UyJsNUAcHS+UX+8OPqrPhTcZciGYBotR5Mvgk/PajF4xpsFOcUQ7ETX44K/TECi+elj7EQpEYJJft8P1vLffEvWkP4uiXyOlZAB3cmuDTht5JV2+qt3hz9LazYeEHlw6qa6tl7/4nhq9ymd1+j/wVz1h2rv1xn4DS13r9qtaXXCGqcZ31aGyPmFm4XD74i0QxNRRXquGlpq9yHU7xlUsSc4p4Pw3Ui1xBhfDoH9Bj83JJpMZCyyeWtLwZuSO8UGKVAc60qdqg8r46DE3K+HwMI6uUjFgLYEwuyL3Pl5LodCAQeAMzmUDa421v8WHJuCj7JL4QvRRgmEd21GNGz9bjoSgG7Sq0sAZ9+niZ6nPKOZJ8Aa9Rw6Z/QUbH6mDCo+Jg9a0F8SmNConwGJ+1AhJ60lRt3ML3R1Q86shE6Y74Kxth+PtWb9gzWPN7t0QFdIrqzejYEbh9VDSneMdhpmNHQ98U1lf06iYOZgN0yTK/xrL2aCzzRNoRyNqdsTjlQWu9f3l5nYS7MaTpFy8uptAqcHgGcgiYZViNdntwxoxtjmrKl4oTx29kBawH1KWdJCNN6ar5m7bQ/0ofP8DvGadLegejU6Qm+16OgTyerRlcbhyDl8xWkxYIVDigpWU+PGjR3OSqLY81l4/Aosa4piW7aMJzzRUu29RugV70oBhdaBLud2/6LFMhxP7yq0ZU+2F9PRN20gs2DXMAH9IxJhmXjkOQ0t7wZq0fLa3MlB+yujJEOWIbQdR9a87Ru6mOdXTc+X1bbkJRuNOcWwHBmD+8Y00SnAZx3IPHJi+4N/qcjFDZKO6q1O6kOTGjfM4FmXkqGnfhd32b+lGtrRTTOHyNJPFfkvX8JUHgMFuQ8oH3YJo5UlhTQE35TDVUR1jMmzn3q5fV8hLAYrHEFalftfDLd6FILQHKbTXNsDLgts4PQhn1LLHW8idBGzGRm3HNSXMQoOXiG37oZjVYouKZBzJUa7r/SEQamxfX79hWwy+FJk4e3aCHTPmaQmDrNj8pMb72l6YYVrXHbVSD0xYt6vIVCzLhQ67/goS1eU0G1zI0QtQd/AXOjiCYW/b8QzH+eT/hU+9SPfo4rlG8/OzGozYJj1fqXN/jmlDq9+Ao9x8SLSCSy5ROjMLNeUnNCu5x7fA+SJDr+dCWDtIJ/kXPzmLqyqW2dsAwKolL+mamWuzr0cbLTR7qXnTTBpKlrRZVIZnt+7b0sNHgzB8w4nQzlpXGDru4tq+KxbUUtJ3uRYff0NwH5BjWRwbkNWZmAx6JdHvOUcXqSmjVrC+Uw8f/XP3n97dgXPMNA85glLgbbP5VANMTgxZYKYOtFMDH8gSu7+D3kQv45uuoKE3zR3UBUjWMM13dzt4bKiU+1R8T7Lnj1G7eF8PEGLvA3OV1Af5OAIY7nfe+/nuBpXK7NYSAQ3GQN5jf9sueRgcLWW9xMa80zR71EXlOlqSbxk7SAs+BfYg5m2f3bvhnl+i9cRYoqB18eEec9Y+3Q9dcb3LqTVh9ibyM4VXnIH+XmnZlCW3TZvHcrrpxj86PivFSQRaWgEHhhheklGR9WnIpO1jEfMs4M50/cixzHiWE1MoRIMdc1H9BNk+/p4J/mriU1z8hec6zc5FxbljLI313+B0AmH2oNxb/ifW9F+m7lHduscgbAjusYBupKni8aRQEbuiYuZ9RUufZYHrpp42w7N7IR0nt6RDT/fGPbeoXOsCOzUfYTVyIkXuZID6KfG7l0bYMuL+WANHGnPFXGRLUIzOjMIwCeEyNWNSwjLfwzy5/maZUTI5qamvYXEQIw0UZcyZR91Bcy+OfgAm2ZMi8XE0yOeL4BTQdQ47lzIppoG8UU9SewvagIzQ0mTRnm85ajBROdZSp9R/rxv0NavQLERYng0Tb0lBuunTsLbck6uTDsETn3lxzYBoQSeJ0m4L7n0Ac43GCyiGcYa1xZF7r/ArkilUggoL1VDIBpEKBcd6K0xYrxNIHM5uVYPbUfPtY9f+IosGKHUcpDFv6FBeuVS1i/uPz51QZsedbWP9cCmlceTwKVNkcp/rav2xY+TWE71qhYgSKaT0hntouoyfgQR8Lr8NdSrdM8RaEcLDvu7KCwruB8EWuNKt1A39GEFpfcjVni12pfVabkSH14heyFf/nUImeQ+hJpqHv7UJePJPbGrai4jUzr+cFOvcM4+fwVOGMu8ZFPYBDIxSYK9QGBjX4fxjpElOi4HyLlBOFCyMXA6jYT5oa/a9PZnE5YWQLNSUzorWrJfkQSfj9Aa5ICjH8Mt7kMucDYufgWMIO0cFdAqECAYLoZu1Bku/nuUdGq/Bu+CeEc8w5JskvJuVZ5EBdSuJO4QFLIS5BB9a2E4zbi0V4W3HohL9XOY0BKrJzg2MO9mxotXOQwaXNnKzcaJWQdsh/lv/cHdaxXmlug3/LLgqNyu0hX6n8JpxOnImwv8QidZIW9AN/3KxueTBhb8tYT/lB7gOjTyL+E1Vs11PMtBaUj2RMNnMuRow0EzqP+guDkazIWmyaXijBCmNCalu8uscGm6J76qAlFLiQfdgBsV7zefMNVn7U0MpQyW0Z2OYsR32pz9VKDH3i4FcGy9sP9CLK7r0ZcGRzFlWGfAgy+G/T2FNs3p6qpknhTDFMztqksBMc8xmm9CUHXoUpR8zrfOIdsirJqQeHzKtIUEJUaZZtzxQsGxt0LDj8soHzqEVYrMQ8isxgo4xa+Bnmgq7jMzULtXAaPdIU7hIIHjGOfqdGcT8vImRQt5Z6D3/tqqdEhy28kvu3Ggemd8BfWbzOCCDTYZv2fU38bdREbbNmEmfZdF+FWT5PpXb5PytiDKl/oEfIIIEpYaVsjcc2fUbuv4Z6JQJGHHJ6J5WNaK04pe+dc/hxC8Qu5U5MhPE0z8ILs+/T8Ve7l86lxGYRD5A/ODz0r5LtmNR9Xv8s8mS1oIZ9w4ncIjYFH9SbWLi80+XXPKeWq+HX1Jnh+YVnoWetGmYdSDQB32wIWtMnV2iACCz8LZiZ+nlT6+AXhUTjZUaeVtVFH1zFDeJXep3UDKQiFOojvyavI0b4EnO0bFZuJsvFhPlq1UXhPaOJgwgAjqOOA+OEesHh/HmJGj3f1+AExkrnpw3uM2nt2NGPV+fnsmJQsC+b7IfuboxJh9W6H99swSc0wm+0hft2EDI4LiGAALBk2bfl+u6CpQr30iSkcYDUiG+ftAKIc1bfGgCa36jr5AXzOZ7WqWUyX4Zewh7TcRTSLLg4Lzntm5K2v27UoA447fmZL2yVzjbCb234Si5qhn50I5GXnspNHDEAljIn7rT2TgTsb98sRTGfVAzHjCLuHdGurKDr8Zvhw4F2yOAHASN2MsvMF3o3TTxJWWrW/ogqBfUSKvClYcenEjCFV7U6pTtylSUlM35UdKlB3qxmZ9lRu7kQipgint6o9zHZG2J2Utj8mK/O815+rxD8Bg9uw2tCQQdEM9QQQjKhKPVcuufycnfaIbh1X1Ho3yXYf5rzRVqMUSpSqjZRYJevpp4GNLKcavIZI3pU82ktCQ01nD/xo+CQSaDBy8hKGU8r8KNCY1wvkILbrc8RFsmNWnE0bN23lYHolxjX6JLY3XKPfQx/MQ84tnjV14aMTlP447Qcfq4niIl5o1zxh03G9tXWNHwBL85Z1UjitFLs2NNSs8yAcWsXxsQF5VNzVHwoQOULjmQqVjAN+u+bEoJipMme0MqgOSWonIDAnlhKLEF3QQPZuI9+Yapmwj1HG1rtFcTJa4zGrBM0OpJk8Gh2Cg/XYostYwvz9ShPvtlND9GbogQtqosX+aha8IV3dn25Vcli3aFnlayJvoXtI8YkOpLwwQ+4ateGHxYNUYCgu6BT53WpQiY3GGqYbTUSQGjF6Nb8g7xGeutnWpiAumBeNsRWzGLIfYPYwRmx2XfqGFZ4ySNTksXv/sL17y4PqrsAMw2JU94P9T4cqjH4RuGfYy5NkONL62nbLHM/4teP3adaexFACpgUAkDEU9juE8nVw9Zrsjjf41/4q1kI/tdabFn5h+m0MIu6fsfNICVc6jGDpBPZCXYW/8cKSyk1qkP60sDS3sHudpDCkS9e+eLSBT5YhPbO/uoXbJDuZVi4oFdqYLdD0IczoAFju4K91jSNpOh38H0BbNSuqNy2u791AsTWi03i9XGzgncR8HMUzmUs4cUd5UM/3kvffzrAgabspl6I9May2fXyjSOVdBL9n03SLgkZvVbVvpEG4U3Kh9PPkN6HKSTNRR9OhgvHZ+v4Tw+WQa032xOHX52posOGf7UypDgy/GLNMwoMu3LMSWQ51atZu6eNb4/OVvHnjIc5IYf4vDSpRB7Lq0vZIoL7Rn9/FvmvuICnMq+bElzpN13FDWc7QM8kUCnuGDaUW/C0FrSitUBEeOGmi2N+h9JQMzSNXkDBqEHf5pCR6MI2dSviG2UZSN0lHr6I/2X1F2gXHQLaNn2qk8nJbgM2PHZsBPsQuit4SbV/uDseLnzGVTln9awZPFqZTqulWSxhHmmw8TLnHJijXM37dFA3EfnOG454ssTzCZQEIzp09n4drQemq+Spc/5qS9QdArPkqzZ9gubWnbnKlXLuqD+k0VjJcV72CB4dmZj7GaNiUefGrOgwKuTjbu2z+4Ui2EgW+0PIEgcXnbX/fuLW6NoNw+HVET+ESFLmWh52zzKHXspyC1u8azmGNzDJreWQbZyPa/C4/EgQgo1je/pp8NhFfrPtIQyIfbDBkfHWk0elcJqzQN0VimO5+HbXWkF0FJ+xsQD5Hlz7SM1V3mayWnpLqvvAGCQskeZ377DkVjVUly7MDr36Rpn3xYYgvn9cECFQ6PpLDNRRhNYp6XNss8wc1SchFY4KpNCzfd95UJUGcNaGNC9cF5LoxMjNtW1L96NOrNfCn2CRLDStfy6ky96WSLXUmzm3vW3qy5h+OH100ZatjHjfzr6rua7zTXFfxrjmampcXj8ALWbXXbgZ2NaxbVaB/X1Pc6MBb4/n+30A4g5evMsa0U/PopXO7IFCrm4AqmG9JptEbyYWDH/zjuHu3mDVTeHmImv4WweyWbv/Yc20UZEQt8t3QXUHJiUZqRdkNYbpHTRvZheDF/lkLfPXeuFmIpSwfgQwlJnqGP//jFpuWImZPoXObZURnaali8iaNGQU+NWRJOgWi1wy3zbVB+rfnm4HQYSHi4VkKLBkYq041V6LfyJWU3T0a94K9XHGwp2I0sH5JpllXehJuVuWxkDsuo4AWPVbsvBOL4i7PCZdMfn+jVVy4GrU8C8rN+U3s9vsaI0zwUUYGe0RrPqZXwNpYFEHLlGhDohX8n+yJH4IQ0Gya1oN18um+S4BbGo5uCPlZJK9rXA2rQ8Xz5s5fMVMSgf6lqV4zU51PUzzNevDcwELOnOA9dD4HqNUfMv6GIkC4ui3+83PoJOtpBtXOnE5PHtmOf5D9yO6sFXU0/mv19kPCWgO9QCNel4mghMBsA6tyc0fXZRfOMlb1ovkwd+mulRZq+mi2ERt+Akg+J1gYvJoUYdrIEWzjLwXX6u+PTrqiqbWLDxGkG+wli6wNlwKifdIp1vIw/2iYwDzKiBMV+xLVr8yfPWfAEAAxpuMvAKpXEtO1RHxcKTmbpsC3gk7Cd0wCttBVsYkHJAYkDsS0NAjafz8ib8y8JVNU9bzrYmAxUYP0tJyiB3ZRRzeXUVxxDaFuK3WNAva5lADEsUWvstOs6putNGsGuDanPQ15UZtZ6bzEf5s7p06Y/FPCPr1YcVCA6AUKkCGFgV4kR8tGHezpKIVPBWDC6CeKyIdc5YO+UNvrJquO3XF29PddepWXj50ItkxOPuCwBSTVICCO9It0okCt4QLWquAjess4gIXONQBr1nbfiWFqTxQtT8EKIbR17LIIDMvFEKfpoueHOWGP6rIBo74t5OO869bBK0LAhp8wz1CvlMh+VW9aG9YvHO2TKSUk7LN6ihq8ekHHA1V24n/WKE1/zFd166kWLoq+jCu3rpQlrZPzYv5h3vqOtDS8I3px2FLmrFooFxMBnwm0QKuqGq/9799BuzXL7yF8JRWgDODSMmNvu4sCt4hJAQKdq9FxxcJc2uctEAV9dYlIHnisJS/26TJqP3PUYGSN6HEbOxv9hOhyP2G0TvtaxLQ24mEC8wH9gzILvdBeMqkwCDDnOwkxzpOWnfG7RZvgff3TcsFxElKb9uLlGSO99zr3Rh95Sb0WesFrLRWlHxLFQnku3IzezOQlb03HzSVG+BYFhYnM/HFyo1UAf7yfq1qPTKm/3sQSeruVMfQFNi3SW+J/aqJr3nbbIax1lbqPWoG7bJhlkNjudhsZJqhld97Bf8oMcrfBGe/d1r6KBkPaCpolWN0guQeqWYiTBkgKcvG8g5mgxPQ5jIwYH181TCuK81cptElOVPMYqBAzatdY+U76N7iv6A8ayxIPs+YqidGqVW4MPMCKDk2PyZSxR11FSmdFqLP8ACXCEsycBL+hkshFyLFJ/HHspeehTZXnsv8i3ZV4B45mlqHcYlyO+Se/AqcqzAg+9Cl/FdSbjyO9Xka2MQu+YRSIXvt620QmSVYSqQmPtCHRyGcX5s4AyYfgc2dZqQbncVqHiOFce1bdkvsszGymoWos/wNeYpyjVd86GfxVzIl+zhPa1TTVRr8sW1Apnt2oyecN6JPodiNHZFFbbbYlLA5MgFTB9juZ/PM2mvwEI3s5GcuF2hx1FxY4eJ0Q2wNDw7Wb4Pn9Xa+z/7ze/ldEdHrfe4B6ToRFyibAHCc7mKbPfKmypa1ZCve7ZqvI1IOcgwklHGRxqkXKoRMYLWKAhN3WVMT/Wv6GyjOcTLxvCJhV66iOqF8C6APt8OzkkY6Uliqp4VWWaDoclNwrtq4N9CJHF8FdpuOrD+BMYg81yuZ2Q787S6Q4z5DNAooDpdtCq1hZOcK2WRf4zNuA6oEI24W+MH1Qu5z+IuR5PtL19LhHvzAOpwK4/4H7nI9TcR2yhc9s4sXTmMPjWdlhSTzK7SfXWfHE9GeW0dZDuMETmBSKNfNkCzwyPDMlUJaLOgr26n3mOUt5DtnLmNKdpCYb4tC/JNqyDuwH175hDMG9MomgCEKKKyKWMzJlIf7tGC7ucacpCoPmgJI2jI5t34fb2nkshhFOPkInVpr0LmmTU8c8MRiVaKqUyV98dPcg8i8zN2gs9bvukLiwWlrJUyxI44wzN5xFMrOowzeSe0nLs7pVXUe3ckjSu5eH4/vOaqBMNfxj6vYOAzU6CM0FsOQOp2jN8/Sgz1O2JnQTfVmIsoMRRtutO4ahvyM+HfEwfIZXyCQBD2daSrEXhY4r9Tk1n8pVEG06DS02MX3Zfw38lI0fD7AAYFOlCIhaGTpqESDe0A/39fXIfOSMR2Qkyy7Ky0o85fgxhMHiINghNAbyyNzzFN0le29JHKlRcaWEUcXuL9KHMlxZIf5m6lWhsBumOLCV38kLTy0aWAq70Ico87BBgQABQaiTk3zQ8NtZHS8KM2RQoyisVU8LCisew0d8R4vDdnn8dSlErV0/jgrKWagLDTKXv8Ik8EmJz2kTXPVhjmz0XdSo7UwtXEIvs488GvOeFjmOncUw05Y81tm7xL5TJRYQEYs8yTH7dKvWizb8iz3cFO/2WfrnBFeZou9YuaKYzD3R9Ww6ZPyZeQ3Yqqe/bHGDVdtcKauD2/ML0aNVMIqWct6ortg53ZT/PoJs6aRg00RH1Rle7JWQfeTVuhv56EmkzbLn5vZjvz4siiNFK6JJBsl0T8BkZt+LWCi7TbvRL8OaXRyuTHOwR+2UgM96fIGPXGSUwopIFFV7ohQAobRLWEeU50opK7DDWetAcvr/Z23ndwdm0w+fKGd8Q+o9M24vOpVYEmVl0n64Deuk0bLMJAAPYpAe1YrBiKhIFxo10ws1iE71wpwD5p+LakHoLfWen+lROveshbv58w1JZsCESU65h7pkWhXJ/X8fiJOMOUoHCpbc1rJexz8+CpooJonNZ26X5Txjj0CRokT6DFELBzIPaoJ36RAEuvMSPQ0VanA+ixiyYaeEs9ZlQpeyOFpUXFBA2Sh4x2g0sJHKpJ1TW5TO/F+S8j9nh3MyyoKhjBOiipxXEgt4Fe3PPFlYqN/lQSlpowetoFKkglt2pt7ZzU6e4HAFcZx86H1R7SebYvBmV2vYuYW1CuGomSf3IIgLgB27JabsEKWvTubt9EZRZsPh3+dxAnnI2XxSJ+loGa3R0IUPpySsqzy3tnATAbxJ1c/apSkoxk6VyK7HzclfjcoUL0A2NET8lJ20jU1Vjqnu6ximDBUJ16UM/PvvZspI3rC78hqwyKUz696Cch0nkmwOVhMwR92Q/nVCMbBAOsHyXql61GLMRm9EEeqVMvTK7RFkg1zBIsmv+tCEBTCkLbSMg0aMfGTbF4DwvhYtXoPmdA4My2AkTDqYh0l8ajTC7NiY+UVbsFNFtCfIBZvZQAmyAwwJtSmLVwRpwygdTMCQbPG771Rc2DXbAMK7AVDOhZFMcmKJA8ieNZehVzb5dWiexPvwWhJ+0Y2h2FHBjuD7uXRWbtYBk/3B2F04bHvhOkEZnE+LwmE+tC2zJdmyDO2owJWf4H+M7TE7CFKY0028OHSPlI8QAhLeOwdgFLEldQlhvzWM2PMyVnHh/oZqdSknYCn7P3Hx6fpx8mMw3GQked/dSnqH+Nn2YDYAK1GlQerwKR9YjldhahoKzvfzYzObcqoZyE2dTMBqRT0DaCNej7zzZM5p1MkT8mnCC+v21g7k796k2H7Zi164m08tHt/Se2hej9jS94CAzR+Vv4fhS72vk2IKaoxjJ79olJN3SnUblifRg71zDgv/i5iFKLKaepdNTNYtOtYSj7ZNlDkPXkQz/uwCT7GwPhjF7lTkXsyFslVGMZv/LS8/bv20NT8sEXuXRAHkIHPIm+204Sw1amdG9z3FZZTEfCY6nxAg/8YWDa8DOm1HGMj5EAyD3U9pGh6sqlUjvjNL3VZxSTZl1QJG7awKhDlUNKmcvT3Qj4KxTRtSojVkg9Bzjw0IZGjW9eSzRiPDahp6UKlllMpT6EbsYZSvFTSYeRuppJn8kott3saIG0XOUGRDvsyKZU4ThKUZ6cmMAo9PP7HESi7DxKaOp4bysrVlqoJRxGanUzU0OEHxW4pIycjaEH2vLXRnmkWx4Xkmr0RrsZDGfcZe/UHawBZnkI4cJolaqV6X0PH+2excg7w9ghSs9HELdbZnV7PLFKEUd6pt5Vf4hFNYH3U5S3QF58nbFBl9noVP5y8VsK9L/WclYJs5iIwVQUEDNN1Jw3JYFgI8kjYs/Ix4HR1Wn2HFoxZ5j3lqY6zd7MdAehGz8CEs6HGg2Hl7o0AQpn5tnCmpEPwvg43MZQFLq2kUNMpq/moRaM4EpBtupNYZxneasyt51GXuiWGZhuDjsFGq5LhWIUVMeNQVC8bmeJX+zfzQd1NS9gNEqnLuDR/0gb2jm/UxveYhq2hz3QQqL/jcGc436gxT8Ynr36GosFN2u8DE4gfGv+LQcLlDHcd1tciUevMhskiT/o8tvbM7uyg4JI1lw+b/Z7naL2LO/QHySQ7GUcV37AlHdMX2rstoyLR6AXmqfojqt+GwuxACR3c5/xmpWOnSZIudaZTpTy4NsVv128F/Tle2LLTY4Gp6jlm2e+s3kWffBiGznixuE7PUSZS97Nnx6nI+Evpwmbd2v+D8YJyDeAUvDDoGXGJHJd51U3ZyQ7H3eLCoK6m54N990McayCfu8PMD8WJAPTg7ZGik77E6DW/kQFDxJShLKazInD2csJbreIaVSYkUfDGS+xL8uuJ1vGUN4P25NW5S69H0e4gLTx4de+N6PoccEbnxtYREa/R9B8fRYc/ctG6/evWDUUMYEkkdx6JBrO11NCUA/bfk5LZO3IReabRc86/i40g4drzDPJ4lDjU4r0WQFTGpNB9x1CfteZCVv+bHJXWY5x4ShS4q38d07NS6hFlGFls+2hE0GEu/3Eipvx6vjZtmYHnONpFPkVXokA/s6xwh/IX+2TWVUADIxZKWCQD1gtR35q3GiosMqC9McFbP+mWDqSqW53bGcnRufi7eAkL0nS+MtAj+WksNqwhJHLRTICtzIEaEppeIPyOiZOgtN53sYiWWNSx1JpwYcZ3h1He6jcXoZ23Z3goFuI5p1u+/J17yyJvkr7oivbch5GtagCth3g9HaiEFTKtUPmMDmqSVCCPWbCFGujmowiwPeUpMZJ4E5Tojm0OamnmRs1Bc/fmoxH0SR9vcUi35OB7Pgqr5drw5R3Irb8dGFaE+L75i05RAiJqoIKx5GCpc4UW7tTStCx5u2SG53GI3Gx6kg72FBxAuUaTG/+BBhB3KLnpH3kwDnhShEWpRMNvpHqBwvTgyIHqhLlFZUZ/IxNkBhXqPGHjMpdJO/TmNmjWuM3hjfwtbgQy4XHLzRtVyiEWceV1VzRBYWo5mom9C8Sk3RW+t7EpB2suEMstjC9GVUOO+QC/WgM7PYfAYdFPxdts2IeP+DvpPRo7Aum+C4F2gJgosRbk4CypVtxYI7TXa11esbAXUvldIHzlYT9C1GdT5CTqLil/nJj5+OkfEBfrWigf4bcCTY43/0WVui6MIfz6GuoOcibuhOMsbMD5L0bjrHvkjcB9SF8PUNLANMf6Lx+HRtiRSZJnfNXKpYa36hjJKsT828NQmSDpSG1w9aqXETQNl8xeu2fMyQufCdvqCvuAS06Epdk2bfyszfqDx9ScHIARpcncb9lOfvCZWV4ZfxtsNG3sqxJEL7NicAtGJQCYgf60ASc25Ujbi0Y6yTv95Y5AORsTlegHEWk+2s9F/fIrgTMRfQYxrPFJXGecnby2ozRSaZLPmD1YLPJ7C/NbBmPLVzMBd72+zxUfU+6lZvWAA/vUmIW3fZ3h928l2nFFP+qBU7Q4vpiiEpY4A7RnPNeRcBiGM/N7ZT3rl2FqOm+yYz6fOQUD6w1oS3q8hsMvYS1yOp6y+1FWpkILL7FsodTO0ixRdpywvHZZ6n34EoL81kYja6asalR6e1OTFOPy8+grl8+o6X/Rx71BQlcP1fZv2y1R976adXR6cs2KgtzOtvtG4q+9OzzmuuuGtK6HN6yxY4tKJSvraQhn1wTFEVnhpSOG924JN8MSrAMlqpKitd65PK1ThFkpW399n9M8SaPcgjS9Ksc1llHorCwaM4rjgGVuvibhmoL3DtKHHDRBWuBGakNCu2BFcaFLQKTwdWLFypUf2dGuqlCODRoxnrOHzmZD9DolTYnIO47gsuBL3AMfy8tx05Z/6us36guc/K02TLdQFxYYkvv8nOvCQN1u7W/l+FAVRnJJpeP4XTu8WLjUrRkwPI8YWRxYrnjbMk4wV8t+ueJmemozEa3UT8gMUat+7RkylJwhjk6cMIiOMzngjyFUocxQA/S5BfA6xGMFpVpjW1ODRaXddMXEdfC69/WVzvswlLwPVyw6egiDWcl8P9SsEskz2ZVjlH22zWgbMQqZaGJp2wcnYB4KhJDTrG+9EkX6E8rslyEfZT5zh5suWzvK7uF5wH+vBNMyts+yu2J6qE7TMGSc50g+IwCXIioMOYS5HLtcS1J5qwVBGByBcfyAoDPw/KSJWoJtzhQPPih5mTgVXPvymNrMkvdfOeD4/AmspdnYfJMBom6VFh/9X2N0W7l7P2lfDv6A+eFo4opkYuE27LmQtUlFmtKcJvU2eKuQ85O0GA2dwGw/BTmy+K1x9EvNoRpV8lJY7QTVhkDc2vfiPemi63QmbNhtr+sGGfbquyQAjIfU/0hrUB0v6sCOz/5YAeyxSSKOjQMGFXIItyT/ao+Ws3z/TQbVwn5TOasSPFL5yce81/pJ4s+j/xfOP5oZxhOlNZHc+qO+v+MLmoe6rdDsEkwTQqjDPo+2m6pfWYrQAkXd920yU6TbVkiGQRKkCtJJxwA8zusuTN0nRFh5eTg5clLIYK2/o0z6QPhnQMMonu8G7IWfDldBgdbrFCT9IYphFMcFaCkBhbcn8FfOcpM9F/TXDrifuRGajGwX2Kww7KGdHF7EKAmzeb64N1jPcBrrsvloet9i46ZlXJFEDD7bc9FDrr5h58F0tLJNbgGVNWvseeQcQDv5H4Z3+U1SAqmauZde14rANzeei+fN93/UQuJaJatLx8FN/Uclc/btILnHXhM1N3F4goGZEoAWcoKictU19MwykXka70cEPbn0ZrcEkvIW0cfTu9Z/7onR0sDrO/qvmENFr2Ae9GQpd4LNxApvlTAiN63O0pbmCmUBGaDLD2Oi/+JiXhO2b4r1QdpYv9pzZ6oj1bWJImiwK2w1iLyttr5qZ+8KDmOqv46vwOZY3v1IHTFm8GQ23NRaf6Ax6UD+h9nmq2LdDGsvl435u49wQnCvIjiUYkL9eouKdxWc1EmT5hJtGMb/seUpZn5l72W2o2B4/DoajplFcO8wDVM1VROLPUydFVykDcLD8xPxZcMUMeJEW8GDvObywjIdM9mNF6OvhUeerblrFknEzl4w8ORdf+9FsBJK9RHu+aE9bVy3xq0FmPy2MVg42XjDCFLVKg7yQOjbxQ0ctV7Hv+ISPvNCB0wLau72/jMHJXsYf7pEJtwqsoZMxi+WQ0Ij20c2rO2TpJcYm2KWmKw4V9CWGC5ABeuQzfKJfatt+RkT5lNiS3HJ9xgZ5zWJ1fDCKHo0auRnFEEDYHw6NVYQSS3baQFOWfh8pu3+2Hyu86EKBRBOwHbqhq7S2wyma/f2f9VQotafxGKd6o/K217BzaruR5Ic3dyfwUUE1nIxifyA62ZZeKm1ttc3sqkgp1q5dlEl9G5eEB557L2Z0P0sICOEqpv8yDxnlFJ/E4oEZ8BtYkucyUcP1kh3QLMXdz3FkrF1RAnV8ectuzpcnF9pPs048zueeTQNe2mSXxEyDFAOXVXa/+u1bT6NhDJnb3+246iImAGn7knKEZ0B3vUyQdEJl6VMtpLuASg4CRRhWeWo7aB86xXe5Ndad25WTeMhdlK7kQquEHvEQgw1k8MRRrp6hQ/lTdvrRSE1TG4QGh0uOZtbl5cRDC5vOvmmUoX1wvx8rcNh30cpm1d3SV9nkq0NUrBSCIEYsrUl3W/rcmOywbiIBOVnnd40TAXRGgGLR1qtIQ4X8qsujQET1sZNFxieQpdfWYnmAMQMuQ2vnF0V8xO1X/+a8Qzhk/30jaPnZlbS4h2ZSznA263yk7Qx284mytTzb6M8l8iadkGDGr4ZLUHgzKf4imZ/o3AicEACrquM863KFbece+e43LHws+xYYv2nqlWHMIC13wohVTqW9+NVSTUhgGEMzOpWCydF0IzSUiQq3QBAjiU+cOGxERWxIdBooJ9+VFAJ8DKZ/RtEaif9+0daHy6nKdyQ+S0v+mIcoHCqG7FA58RtFSZ7NaDtQapUnhrhI6LNEA8G6l0i5mjBXDSS+egDLA8ULuC/ux2DsbHxGg3wU5VHXLMtU/z36vuuljYGdfkhgjc604j7PfVj7R6alT1uoaI9fE3VIf8WXmBW+0xTM33Xvr33bp2eBMV9bWDsJz7GTTFfKeRaeYAKuT4XuFzW2Fp5AG0mevN3weZLBPcscVblGSUUoqvuO4dG++cvpi9SYN95oFTdxP0TzW5D7LnrZrS3EwplKlLM+Ru/yqbAKjoBsLCv4dLQifUSnCCac+jBUMWcHrZAKWEibX3/1NYupbFa6lACX5F+ehUxkuCnkTz+RVHOrK9BjolMu8bHpLQnri8nXYGYr+fF164ddE9YznRFsUNIt+1v/776z+ZhGLh5SWE+ieym5j6KMx/ofNBE76Su++Ggow1jiabMW/v2zDwM7oH0Ipig55D7ajWwDHo3NpUwpK9j9FspnQIz/qwVJ6VENWH9VHet98G4tnpB+0B41BbtyrkdDv4XsSm7vDZbV6bxJrRdXMCIFAIakQvI7p98oc4eAE+XRrh7kOURzz+wpkNKuzgdZBZPtZir7O8JlNmN/QYymQX66HYtLBkIJFU6XIn0e9LfKh4riJRoPpKv5Zs4F0HUPySsANIn/NMU8p20ewYpHGVB7T3RLagC1lW4UYx43cugJmBGMa+vp+pz3SeGdOiPldrZvUgv/1E/0NAiUAIzx8BiN5QM1dPl9RlwLPNkN/dyVNCOpM5NVVmT+2ePi+URzrBNghRTKV0WOysMWCXcG4jLqXGXj9eNUgeOibnY5q3VAQao+F9kilBiI0d5oGpYg0n1CLwsHUkOU2MVLtqUy7L0UkSK/060BWdjh65nV3whDmYOUFdsVXTWee6z6QlErOnp86d8VakrHq8ZjN8T8boTAZwC5tyx7rg6gAkTB8FIfZZ2H0QocZ5pn26N+KnnleN/G2F/ZQpDVs+i0SyBsZF3A9DQzZQ6OF7EUI09tdTVh5qwbgefPDpfG17BgBDCjp2GOTz8Q09q3mbjuxLLC6/zUW1zr45FIvw4MpdE+leN9fpYZA7pndYPctCq2QzVj+4bCtdwCgpNaXdNeGAXpiz9UaKfmHfsL8JOcVs/zms4JGH1ZWBk08qC1dqX2XjAqNp6a7Z+SDLbkcUY9cgOZPKd5tGg4P07dQtcSO7iNybF9KUFu87foVLUm6kY6CU9N0/l7pBPJ6s6hSgMZxHCcCA26vi/oPR2W9YuLLDmGh8HZ4xUe3SH1cZb7xYH2S4lQ4GwL8Ew+ecSVCIklszKfUzsITIIh0ssWny8BStMGjoKaJN+kuYyeI12AQ4nsBAsUwdNpe0BcZp+0YrEpY7eZA4i9wzPhGakq0gyBfsHl9exIDu3HHKCRzK3S+4NCG4dlSSjTEBSkaOPMhsUH4bsAMJFaG2wwUqMEZpxt3qTlTSSgqKif+aFXmiebhABgyZabl1K72Qsh+bB5vRkoyV4mwUlVbQyHjyamh3TVqjoHjPzd7YfYyxWVW4tGGO3kuzgsLSZE+AGZc9fR/6xYJsZrezPtwzOH/hu66Lxo4mPe/4yREiuiA8LpdbVBV5STv3UHAITISFzSNAzwPSqSuLikYCHA20YC0ci8CM2qrbui/4yVZZl96yMMmwRaGGlLil0eXJhWTBwP7FD7IeU5SVPe/VAZj4JKVOCeXUtCRbfN4eJoU1w62XWrER12KcmvqkpG9akvM51L7PyGSR8aXJsKM+RF9cj5M+LsMKc4VrjGC4Tt+h5BhJ6+iJBWg+W1RMZ7tcIlDpj7aS82Y8BT1it8f6xnNPvSE8K4oPzTSuM0CJhemSU1GyE6SOuXsoIhQzWf3bX/C4yxBev1Smck6GTyz27xrQdCEryn3HdtvMygadv4yirr8pxVNfjP/5Mu916hbTbhitYokfjWWb4ApXMlYzXp+WwFvKKu/Qi5Q9ZbCDGFkFoCQr5WYlp7wRY0lLu0dWWampkxhr7O68gFVyb1H0r5LDRbJ+MAKMQWPBrrGWKd2ET0qRgyAICiJWwbOZ7jRPYkepO960PrbpchndXXgQS/dxKltPJqI9fHEpSeuchTTJVza1YMyQbAcrImx335EJW4SihBRVI7IRdJVeTYHGhY2supekwfoX+yTuALCnTFtDVUFm8Qo5yiQV21+ed2qkpAYxjeOJhjoAJzD2smhCY0vCvfkHxZWcQs9+FUZByO5fpGaUlhVGc69IdAaxYWkh7XfdHkTuRTECiu2LyQILpvvqav+WsR/H8gEkAZyKYmVpUD7i5i5k5fuvL3Umn3l3fBNaYL3Cfnj7HjDw6ejOpHdl2sTquEjwU/BfjNjHar6WzjxNYyo0s6BRQzbNPCBrkwcrFwx6J2+ImheFyjJ2Ap7Wnj5yqgDHKcj05KUhnojnLF2dhqXxiKgNG6OP5xsTQt6GXUKN8diGBOCzwsid3izGLXAIUlcwBIeseTyC/VMp/NprfT6w1fRWAXq3nW61kPhWF1qot5ajBeZt60wv5Zik1dXOpYDdZMRusE2aAUvAOqUtgo3BrpsTjlXScy+K1FwKWIuliGXaBFrxQJ78c0AefZB1eBlE5GfEBUiBEcq8eIOdOQOYhCByVrmMmUnTRNQZmpYzk6TRh3LGdhzP9lOAkldpzKakcTIFe1U3qGSAgDhmPmPPQgVDTra/52s4WmHXddLFZiBms0kURXXHuy1vTEnIbNyuftwX9bjqrbcaUwGL4uiZ5YFB9praZjp+4IE0cfIDy/E0TpuoV2HRZyXz9n8VPy/GEP3/AiW4lGQUyMKcmmmc14Sz4DS6OzcUnz9hh+JG56ktlP2eKNezQpGcxUqRSNR0ALLYD+aKzGZPUR0hmoD6O6Nlgwk4QUSTUghwMmdgXjhBwc8d0fdCpcMy3UJs0Ajc9LomFkgNBSWvwJ8xRraEeLiOVtBh72NLvivZyFS4YQneYtS4Xv9LpvBe60acl1lP/8t85WgKbmY/dnDGfuQaR9+OtWu5YFF89TytNb0hqJ10KUR0bs2ziV+5z/hlnuqlISlTpC85oPXD97EPDKDMagJOSBm5SHKrjP4IR6MFXYzO7LAQtDaad1tFkqlGKQ0i3jGMAvGLYtal97u2bpypRgtqPmmTlHJL6VRNUdgcd8bw3vwinoEvxGpyKgwz9M23RYK1qsVF21LvTIisC3JKr1ARgBYMbqgW5+J68lb8r1Z+JVEXl1mcnkOBSbyLY4JhoZFT7t7Usd7CNe0y0KxKnWI3AX1Pa7EYQaAx+Bt63tZ9Z6uz5zLWglTYPHTpgHF71Z4hB6HSFIQ22Rg7JaUEovFdya5IUdoYuLXdbb8aB8lo/ExtZz/aRKFMQ7f5KUc2epnnKuWFliMhj3+yb+FKxVtJdmE9pYdgaLA5PPaHFz9fWcSThMG+W0/geMPbHprhPCOTljlYnNzq/rhwudhQoAC70aqf6FaFajfKgfANviATki2GUBFYubjKJmAw2+ARRGWKruJMNWejig9IgL9zqapoFXOQ6zwUNWo4yJXv5/J3b+/T+XFWBkbX03nL2RTL/ReXbRnwc0banOL9RqMWcmZuGxydNC5LsfQrfBLRkDsYD8Y4P9zW3LaNB3uwVo0h+HEQ4E0NM0EYlX33Fyf4uB5c06Un4xbxyBfFPEHc3MBEt5haIjlhGvZHmA6FIamAjfpyvdXrCDPxuregvvFQRN3ghXnytViZ3/oZTrnV5HoLtugFLkaas4Mmvksbu5UgsGBEOBHJbqyRDJkWM/x3k/B8rTbrj2vuHZnIgYouBQDJAovuaQdSjQILhSGc7D92T7as31glHwvSqutPw/7Ac6URl/QYy1zuCeQF0nMISnx63o7lzUsr8ltDCDpH84zCxsYE9K28KeCPzMC2mLa3/WELQS9KvhDa+qtkz9GlMde8dpwdaftTie/U+Gxh79Er46Y0jH6RYBdPh+X0ZDPAIfgnEnpCjJ+5J0UTYOBZ9J7yR/ZQ5814DXA2ZXG/mRIBYuAQ6vr5gg15ci67iikHtHYtYHvxvZ1Aal+IwsBXrkmv7tS36KqKqRuA2sO14u1ny07HeR2MzNuAQ9rb/WMOu0LQda5jBme8TYO5Y6NeRdE0ykr7AUgy5pjGZRDrrCfdBo1FOuolaTXmmRQJqnr4YdDJivNbqbGV6LMRrls1BxMhf8TWNkiPNJUuaG186iGr+HCTEJV/+e+Y2kuc0CIU5nm/Bb9CRrQQmKBvLWJVWp3N+3DTysIWfrwKJXguWpLsSDH1FJIlMcYuNvUqh9uE9gB3WHD1ANHb8UIxx6UL4xOaKJYs/otjNhKMAebFIRnfWpZv6+QAvZCE3C0NKGqvSf15gJM8Vtvbc9jkrtGDRi9ttB0Wcq4dzFCU1cYj26hsGVAVicdsTnydLXiysrpUh+TwwvXVGHyieqicij1cNLB42z8hDDbKeCx5XaDPefr18eujcR9PwFu4J7B4J045a8W56xFmylWX5Of6CQSMEucQhT/1aghh0scmfxHbqTnMbrUgzmtozjnUEmyrdycVHJ4IuvMczOU+XqdsoGgGphAQaH+Qn64vfb6QX/tIAXXMWI8sytHRk8/NTRwGQzRYBoKZnL+7uBDsWJ64+WA9S1rzyYxT0C2YuIcTE7mXVBkTKLcOTlhl3+yU17ruTYt0A4x4a8AMtmKbEp3ge5TfreCsQ2FGPVmjRO4pNDkcZNNfYfv69C+X4jcO1/yKsmpFuldCLY4WSLQYpujBguAYLXwt99NFi/TWmt4pVMU4AQDBQzg9gAhcCWefsrnum/AjUumN3jvwgKqtROLlDjfcL4Z1OY+B6/MAWwQDders/KYmKzFICBe5pP+a623bife419qbELPIP0WCGJNaHzJgV1CQxHfqhPhbsR7XT6Cq+vr3GjLDIlgO+HHOcKu1CRFRCPBy6EJZjpzwTwNjXfIsZoN6zJQlI8FC0DcvjMIelTonBWHUqK5zT/K7Hd9SJ3W/Fm6LF7t/qUne52flQ4g+Zlj6AN6ZW7OyvaFlU5/jJSLedsGy1XQA4Vpo4xptz68kyu6MDz13tO03Fb1qUthTcIHqpX+P00EYpThoYMxoPrUdfdC0Arm9F+C6/tC4w/1BHjC6vkSIMUZ0B1JYyLnkXTaYgoWfUvzHPvSmyfES25NR6wPq82tjbf/M8QONAlmHrgVS7OGGKE3beVJyNBNsWOxHPnwXopr7p+q3qUhIzTf2ncU3bMKVVl3DjXn0wJgJT1aXCMKBmU2cT2Olwf3Jj1gokUkgRhTclcHA6L22UKSDLl91KqjP0GSIlCIZd1Wu051qRhaI+WzAPEtujdiQNPn+MNqCVvxr8hn99xJOHa011hs0o7W64G+nj53ZPCVNlsvVxscakBBlTmowEMPZjl1gh1IeUWpdx8/pmHLJMNH3NC7iu7+nxTz2+74ZGdpa3bLe7NADfbym9eLwUBy5EFtNHzzFEx8azeKBZntB0TD7CipO+eNALfL0jGEFqLymq+yEjPttAG3RL8MWUN9YnOjv3FVTqe3KOEV0G8uAS7HUn9WuuBMAF8DTFjVQNCsL83pige3iU88SLOLdMnPwcl5son3fV8hu6wGpv/qWNxAtG06VgznxEpr8wMgEib+3OozM/XFulsapeMoRCC8GrztDpqvKFt6gwXBKqx/iZGvw+jC0RvJLmVZpxB/Xn3erHg+JHCApXGF4sw9mI4sQkX804MdZjGm8481ExOH9yB1jMkdozfQ/gLIewhnWRideHI9F6T+CGX4gLePY+ALWybWatl6T4VN51F1TSoV4+j8CXPD14id6mVIs84L5GYFhGp66njhOzfiQPEoCJezbCDBGA4xBNYVUd/Khp8viPpdvJlaBLujSffYf+pT1OYlWvXX/ze+V9Z3uwbdyTbbEExWA4Rk4qyYFlpwcZC3kmJRImb3AkdgnTw0GSr8/d1/3QOjecyycqp/JxChR9mg+uqqGkMH0qj8EmiN+jaJWCtWFXyZGpM9mqUaLGA05N4xUQPYhJ1pewy2HCfwRPyd7369QRHHLPojEWUhQSmTysfkupUJpIkXYYQ4MBd2FHAdEr+6/uI9aiMav1wR8GNf0mM+NnKy894/cS+bSl3ecU7lowyelTJc3Bf+1Plgoaw4z+S1LYzTGqAAJvYB6CXT50//J2fxsi3OdkCanccdTmycBPE0xCAB77o659WHoWCsbejJ5NwKN+6ngkcuSBFhBdpT7Zf7BjV6EA+K7yb8Ke0DjxxpsTr6J2HkeNjJqU5bXtsFHblvS5s3UrTHcAbDxcocqFQjydwbWNY6hRC7J4H3pWm+WTp8H0EPRPAqtVIMnkjxXnYT3vCROKRRqx/1nC9t3QEs61I5PRWZ7Wpt94n8XQzN6RjcJsdrCgokNJ7Sr/bBYDopVMxvJFiVJTY0bCzt99NY+XQjvmoamViAeqe0LCpGVlPbQqQ6ubRXQY9MwBZAdVgMA5t2w6kbFXrMBhQE4rUrlsMSvwVFsQP59rTVNWCdjsMpWiWpOjVDgJIPbCBQ1rGwdz2neueMFp7yNBTgIMaOdDwwpCWTX+7anj8xrfEe9xEd+1B661Rnz/5yHJRneuQ6MmrHgMR1dQ5lwECZsV1Yeb7XEz2wVU+S7f1/cm5SsfGAolnBN+lGsaO76Vtb7OMlPbThIUEpoOsiTLzGy4ZvLIOGxvsoLahuGohbwjERtbBYThi37ec98+GpNq1S+dbxuxByLlNV/oTxcvEqWxT6/UFyooIEDfFRVh4C3BisItRURpHJbnnxcr6bF8RqP8whsR6V791Kt3o7rFYYedyE9ZkUvQTYSg1tO0sTjSdCT2LYqDEIa3DgU7C2loBQ04IlYzKbyUh30I0ZB2+RaQSUwHOocexYzC98NCPjcPKpUIdeM00s4BQ87/DpIGppa4xlqEo6NluTh6RveNauyYH4qKj2+4Emc4xfICuBpBWhZCNZohrrkmoKUATqGHbBk2nJjbWQ0BOttvZkQOTed3HXwJeyvVhJUhUTkl+s6bUcimWCRZCAoiDUAFSFH3xzx0k5soQJDutUNTJ3YQwXAW2wdR+zW+QzM6Yo1RzFmr/yqOtyKXvvdVRLaPvFyOGMdHNG1uGPv4aaYVEA8rbDMBbpxuySpDK4X0Rf1/SoGPcWUJm1k/rXyO0VI0wjyqNzqtJPgACsUy/ccaDf5Qltg3m6zgknUIryLmfe4G8z8A/yA1gcOzv+kMvQCVjhfU1MlD58IjPuvdHzZAg3PQufQpQZKWiZAFu5G7Ojv8IIaLZCojss4NyrbQf3I8y74inOrWYcMj53uzP1/s7Np30k3CS4cYJLd3jB439LXGACqBQZO1TuSzQkdbgUOCS2kYXGjgFWZ2GmB63WUOyHP//nELCAPeO2Tu2c2niKHOO+uC4mPWuJdNoaT6OiCgkgAAlHITgD1CkLctpjo6dOzJP3QrS1rikFdTYpQbjF/KCOWs0Hr8phJq0u40nqLkOArP6jmy5HETSZ61XYA4Ng4LTtFCq6kYPu/Bqdq9LCe8RcxJPRwMCCTv2TZES6tDFzEIiDcJ+1KiXP1Lx5fKXMIIQkn3N3k4yIaBFkNRY0vKHEApyt0oWr2m3JQubWyf8MDR87XEWiX4H22+/8nEPzF2d2NtvdwdjXNk4fOlLrqB1H0QVDNdbYEJ+DYcL2mge93rA/kmYy1KXF95qkF1DpNvCf+dzIPKHi4p4i5RkR+dROUMZ1Sh8jh0ISmnJLFg23aQcwZQJGswF7YNAjrC1fsjbpZ28lO8Ini7FtnoyimjfJvVjac31R4AbAsoTRetxegNkbDLRtIkumZKYPxn6eqVfHdMOTrE3I1y8GyWsa19FZSyLCQo/030dDOIKPZGu/6DIqd899VA/Xe8s/oxAsmLyrjwQfHs7tSYJ6h92A0olICFxjg4qxw+7rb3okzKq4uraqXimvNnmTwDx74IUzsdFbYspGwq6hcwrMTltX6fuNswiR1hCrUldllwfVy9kKJHJyPj9XJS8FCr/vHz3QH2dww9ToU+SobcD71R1+3mD1DEg5dQuLe01udKKadN9mP4B2oBFiFUD/wnRwqrRF40iCapdLyi19cRoxVRTp8avoqNUgG8E6nzrOrS4REsIjU26QpaOG9f4BfbuJw8cy0WVboDHvvJYipT+uFsjrKvffc/VK7o5p0VaeLV/eONinqnr2HDNjVzcvH3k46m/hYZQF1lHsiZ1h6Nt+vJDGd+ZNswffS//AGZcukdWLIv3s2oSNto/H1eCJG65f1RtRN2Si2JsoMB89SQFd8ehgdK+5TkT0dhGcU1b//QVhhHpnWnykCEWnHBtSndA/6bqJH+boM8znELQTgFaNSOusS0BawAjL/kDLvTBOKBMc/7YKD0YetG0Jq8Ct3ELJ7QRJFeF19lAoTCbWZy6I93FAph77C/dv9vQX5El30XZJA8rqcKMzg9+uzA96bpvW96BT84D3+o/ppNBIkFKjR7myb4XSazVomSr/MLEdZcv+YFYmzDKC01h+Kx7EJP/K0KDywCGg1gKx94wVxgLrA6Z3Ezww+rsEq0kjBeI6eczHTQos044c5ah20xROGzRUzIeA3HkeoK6E/5KbThsYMTPCe8IeB3Zhq4BhbWEf+gff0869L5cwILQwoM11lGld/Ytgr54H/Kdsx4zCQqAMKGYI4pQ4tJtLVX1P76cOseres4QilqUiotug8tRrh6HsLsnNcCfpELQaQoLwICG8BNWlNtNXw6k3isdWxAFl6Hv5BI3LVAvggfJTa96NHD/UGGWg1uuwitjl/6dMJI4Jz3sdgjaB6FWLtX4LfzlBm5dpkpouf+g4vZ7txFBaQOzFvkH/dsKPd5Ry49izmO/X+tkhNrk4thAOIfGcgLiykz+Dz543KtoSiTyUTDwQADdt0iibAlq6FHOTG6lf8XjMTl1l3kd8WC8NEFkb1NXOTN/DT4hNP0AHSeYTBG3+161TYgEY+iJ+dGhXrnnK/MZwVaaxmZv5bslOojvMhJPyuB31f+pU3YnxpzBIgEeAORWndnOZ/8wCjRp3pJHvpk4WZXszu+hRjaHUfQNOoLqd2rff1oOnEkAtiK8BOLZR7+Vt0InM1zmMEXP+u6Q+O6WZPAVMaiAQ/+DY/8j5PDdNiKyfiiRWlI8Zp9pG+daykBXP4xaFAhGgWzI2HuyA2WuBu/tY/pKE7IOks198f03Lzl8Pdm+kDTz4MbYHq0G+Lchad9mqbySBo8vjrNcR3qrLYaGKmUbXw2p9kti9UZ2bh0JW2Y/yMOBRNLRJ5Ee91lzZtPJ3dyiXfgAE1PX9UIxDYWf/13zKeciVc9DT7QNc56+P3h9VzMHXxxGfRgQswUz577wkxtO+GoGrGVhQBDRp6N143b5yau+46m3EaazaEZmcUQOyVR19ODgmoFCry/R1IAp6yWaVLqmp6KdVhjLP/K9axXNN3pmn53DfyMUqY37EqmG84/MEJp+Foe0PM860HgWTi2WtdkPNqjRj78GvsaOC2eMec9dBK31NM12W1cnCJqok9vmHdjVqusM5Stc4IIl/vJU/KzDxww1tyNxhl4o+FQ0Qv803ziGUjGG66bRjvTrbRkS1683BcmD33+42QGgm7KvDSC54exafqeKUGJGCzjodr+F4+iSxjfJ2sk4opMS0sfrbGkdfr8s6twOOSklVg9mos4xMWknt69FrOLDZ+0UTAwK81Jw0myQ6zBkG2dCZY1ztTezOCiUg3cxN/iBHKCc5O8/w/VU/9J7vkA7Qe7eJDOLbBXTkrsQ3a+xcXkjE44hceSovnRrkIeq5TEfkSvPh17+NNvBVG2MSLy+JBTUls+Qp8LuNdQMn/jEyNVZDfkLbavyZ0ASqUQlH0Stg1miZgEg9YqrUkG6f7PVdTRG4cnZcd37IgYxv6RTXOCG0GHH3Tu8B9LBeR3CZNmrMk+H7qYnuTI//bdx/2EGa+ki8SrWp3Vt8DBtoAE0/lMOKpG6AtrmVwhL/CBZvSszFjonx2gX478SGWeGxT0lYRYF3/0ZOPtX0WAroY8Y6mumpQ42oNlW0i4+o89O4SwCy/5dmahBJxhFn6TgaY1SeisXxh2IE3oGP6YUZbe01egv6M4ZLcIeOg5xm5xvrTlF1VtstIwmHHlT7yr3btUuEGbEtB+gBsHbKZC+kZ2q+Qcxv1sjOKK3Nw3uMEKsL5RZwc4s9Bico1vtr+JKepac1QOeuKKss5A1TQKDcp0WU8HuOo80VLOccD8H+jeiSIbFxIN+y0URRx0/Rb3C+Xzs2RkGF+lkdoyI7j+3tixNRD1z3mRvLuCMrxRqXNAvts15Vm9MJ3je4FuSpY0+eOJ7YBXMye2v+Qz676SSgJiOn/YLuSg8kRvWNliCv1jt2GiRN4tOZsfiDJd5k0jdS3r6ehKWwIRgr7CDQMJUNn6JXHdLqKR12bbDLy60A29AE/cFIB42I69+YkmswhbNcQWt92IyLgkTahD8s7ginnTq33h5AsYcE1krdXJxvdOfjgmihgteedS8t0JFmaa7s+GzrQXaZAst3Jpdr0ZphkEQ73QWpCw3/VoNaYXm48wXKqZND4Rs66xuLGpnMKAuvFpeNxMGWEzeMcI73JldDrK/apX6z+S9VZbkAgb3+gKH7/Qe2c8OLNC8OHv1akHXmMHHxQ663g/PiT63PrFMlwiSkDe+C40Gj0pVdpdyWdYFtmLVJjBjPbDC1Ed3oITGd5GLvXSWTm/6+zMr02KF0j5aaBrCQ3wl2XNGqaIXnRqg1qa2w98wAz+ZDcmScDxIRpG4emfs69tk6ieUemS+lFJtNgo5eMcghKmhblaXG26F9caAnx/Q+2wf/YfOdeCz9YkPLVF7oxnzlta7QfWFt+blZfNsU6tUChHE4jQbe2zqAu7cx2tFj0oZYMom88Go//pQc0iJ+eLoplAfYj8JuBQ+/uLxldyZ8Ewa+Mi8ZMFvXf/8n7tNTYTk05lhzSWYfiyNDyKO+BHsJMRGCkGvmvYSglZjPMyvi07e05/Nxhhx79JQAiqVerMNt9+3oChgTrksETw2Uac3WD8FnFmV+9IPE3mESn3MUxiOx8whrIFt32u4EdEZspNhIQiRnqlfZu/jZfyyXW4PMcsp0PxE4R/zUH/eBK6IDCVxNrddp6NonIFe9u+lYlXmXlvVtsyioqtFQvK/oVkpdw4HWymUzUc/b4g2to+kDQr3TdfK169B4E//s6NCMsAKSHyjvNM6r6u9xVsCizKWtnn6f/nbeTZ1tlPveKZLwPHQrvL9BDLtsy/GQws/BJP4/yqLrK1lhJjD080WUYn+drN/lS6RzaweYX59cbdxnby/X06RRuiMVRATJ6US4kBu78l0/QcQlGrl5cGSahTSf1pQ58I3S7c4ln509tZ1gl7nb5VLBJo+ILqMWVjhUPQrT9ndf+tGmrwr1el2bFxI2zC2tn2xSjxAVN3g0pk13tC4FgSpSYC6UWRNRjSgPIvSQvXVbY2N4MYKMaPpqn0ziRprhjJ3XkbvOESdJoDvPriYYZSowC+Q2Z9oA4l5oe6C89VSLVsLUvWUHkrr0WxM0hRJ1BnwgJLsVZuX8PxUlh32y0mTN0pt3SFyc9efUuM7mwM3H6QEEG+PPjDLAaYTZrLbTNyOEY8P8O9sMl/4qkiLxq4zzHY8sfSD1yhdSn2MuXtsyPnnf4dxrZeq+rszxeVQROhW1J+mvZ9JZ5ryx8Ia9qquUCyRR6Y6sl9Odh0iBIOTxPGf1tOFJj+w1fmybnD+PonhIAxp2Xo8R6+hZxLmB26qO51nlFrgnng9/OAexs2p+mJ5km3sCFf+IRQ2kPzqoHFuGtrfsQilKBivT33o8c3nMdB6RXfeFwZVBSj7OomeFkPZrd275c/Q8+YswjbfpXRWvhllAEAbU3QzKwyumE+rsd2HXDpThvpydhnY8ylZyDdiPLb9K+KWk5XYt2G0NM+AO8udT3Tweu5xDsSHYXoPftI5gCZJmivwEBzCsACfBfE9gGMqyp6Rv/P3Lp1mY4G597SHvo1ZBYd9GAAxzxuUa1uwrCQBcnAUVEfLc3fb8hqgf7iH6Ujwv/rAYmoSQxAPhDXsjtlotgmPJoYeC7m2rEx0k9DF+TjbirjKiLbBsQqCuLLgSB9FNdelh3yJCIUV9RsqHPUOWvgKqFbzHSBrMTbbtT3ab+Twzr1wHJVu0w0gotXmmLPIRadm+aIqNsgNmd6k4QWV5xLD3gQISoCDu21BkQyJYHRDwxQ85IFlJH0pr3w34Vbn4JUF2mcpId5R8hkZy0Hcj9fPXidBLNHzFcVwLU9oaoS7HomjD4/YMTlqNRbl0pXNMYKPVEMwb4v4Z637kfnkEiogUTMpTPq0i3VI770sMWhOSE2oRtLpEJpmruvvLwGyt5Nd7Fr2CAz6S+Ebvrz02laECGHiuh98sqc083dUgMrvy3d5ZgI92qFsUDQQO/uAOjaP8/nVv8WCArRReqv8A/MmZNaXLlm0usqeRy1iobLbV0ojnOq92mXly/cGE/BrPpMfnDbOefSvcp22Ghno8ayfHpcr8XGRAqT5H1iCWwq88+yN96ztqGEnXDKSmHwJ6A2GCLIhIKo/htENv9LnZrZjs8WhQgWOwBJr8VWOn962vdzujNF8Vi1PIFSQ/kKA+Vzo+QJul9WqAsez88pBKCZPKSquwoM246j9Ci1DP6LpW2Ri7KqUjwIPpEe1hVH7FTJnZz1bZlUCxLBkvmKpZtlncAZHmGX8RC9Qz7Tqk18revDkqaPi2sty49cI4R47If6FeoIdx0up/fSvT32tu93zBknSeIWJtDkNL2Fi0itPL6aDnrnVpEu1JlRjE6QcJHcBQ/2cb0kbM147Q1B/CkfGRuIsE8CbVr0MlnaCETZ1DQci/iZ/MmYDPNpLJ3+3XNwDkX4qeVMTeqG9ufzkEk9ec03fdjQwwojK9NY/MEg/ItT6cpeI74Z5s6265CGl0jFXj86hPY0zBH3FNPZJwgI0to9T50XKdXaaWkTjL1y5zNbAM2mT65XQSa0UaFr2ugDqAF8NDMtRWf50XgPRaZNCgjFEQI9/OZ+C1wCzF+LsybaNIvA25X49SCrnidKy2boYHYO8ZRY+fQm9jFKL8cUSuOJ6URXN47uhqvfpISbjvEbUkB6rwaYLQwW+l8t3qKuK5qF3BY4Lje1dKj9He4j60Nhr2DCYOi8WqtNXOF3yzaXr11EGIDG+woDl4SwwnQ2EzoqOfp5RjnL7cj+RWhxXAGasbdz1O9e6/ieQ+zqMDFkH4n/8nYPpaEYyWnhFOSz9JU9JWAOO1EBU1PWIF+A7fgLAEp4yamvLC2RsRh8P/w+MvblFqR9JQdTl4PE3ukVPjXXCjnJtV3a2DRk8I0uNGgriY/KfmNkzWuTGOz/08D3R+yK811JNSygH4xdxz/oedTfOVLByNwOVIB1irE26ofnEwTvJXUTOuNBvyQsRX6eZ6CARmYJyr0MomI0a4c2OH0Dc3W55R8eMSmhrJCcVMQI1HJxvF9R72oiVr6AEMjlIYCScQElRnjPaln2o6L+10CoyEoMdieDc3MSxNJOK962sWMmFlEoYcQTbnydkfOh6kD8mC5qfVUGsLMGKGGPbCxm9DY4cmOSxFnG240PvmD8l539k0ROw/qHlkf1fDMHtuSFeWQFDLAa6mVyWTF/jKDQgsLTnonk0G9nvINhGObVJPXUIDDmHl1zvFnEOUZO2Zfe20LMqjEvfcSzUmaMLXvpcgbPfZ0mfCf2LqHgJRs3fCLZatlM0FVepM7d/WsuIm1fMEZDWJ6tWz6cj0/7w66Qu2+8oao1F/KsFgcNwYNQX6eA+TqHlugrL2zlp8N9wPaiivLYBlIRviCVuaLjkhQJ6P5sXxXo0E8QWeb4U0oPd15+JDb1OIYywl7pI5dsxvxriPgOB2aaPW5KSiSUxwVxQflwqUXKpBBfdoniI9J4tz9wi3xo23hFXxXJq6E3pyIBrE4qfwKAEfsJqD3J5Wd88X0esu5T7aNUZaiwGQeDK+ROTw0IPvGtCc8HOuIdIjYLJ4THD6bwyBfFST4Bxh8OfsfdAPinNRCULjm23KErGK8Rwv0Ss7VZZN5TIOBrKp36tupLIiJ2sBAPtLUH2pWb7YVQasqxlng36Yrqwrgq7soDSd4YZpDorGPlz4y9IZJfmfG6IbKKtSmUXBJ1JmMS8KGFuh90q2gpKGfaRMqekXX2Ni3oEHSYfapM+DsIo+ZPMKMYc233MUKR+PrV1ii/h+5DQACQ3gUaPRyyL2MmRR084OYLckq5o0mv0juvxMbdQqu8quCqTqjxG4oQ8BvWdpJO74KbzlttQbPdoF0QNTqqEfvgedgNNy+X8E3LqH5uB3QQvqqMJh1I76DAFu0w2V3hMjfpTwACFDrdDAPQuGWRcKIOwms0Upq+spxcgtBPpsZiCjeBG8XDM6X20LLNqvpqTlBOjsaCagGyHllYSgjeJjhiEE29ZKZ+OrxQD0QRVI+spIFcLt29ddYZx2LMlYIL+yFUEJ6w6gcSSSkNH8EEsYq7TAfEyocbxEmfOcQuJCnorgboCIR88M3Nsfybtk6ay2zoGtcKgi0/yv9IX1pk1uC6bAmxprgsjfOF6FWp5orDBWyD+J0TEoxO/mnSCB5ORDWs/GO0sH1tY06WsayyN115/fR4TCzHfrrnRgY+p5ynu8FLGwzxjDB/UIsjRy+/wkUaX3TuYQetDpuSTodALQgheIy+KLQpfq45W70SecoJxm/Gu5Y84X9e7zvIcj2TSK9nVNc2r+wVAYOV97a+EjScumF0dTsEAlAGfGU9/qpjS31jmoGYF17IJsIb0PZ79BmVwtrXi7dMeBtYHTQ3WctEyiP27rRQgQaBsqbaOAvRICIzQQFVR0j6ONXAJh6wDL9pduMSbxFXMR3s/WUDGWQIe8Ey1Q+RoaB+a/6guxW3BasPCR70r0dfI1kqkgBE7jqthgJCgCSP2J18lqw4y+83OWgojlVMpqMQCTjtkgMH0NYNf9RbkDogbsh97x1B4hgHdGzZvDYVbJ2kDdrdfRRGz+qgbLRnsEmQFMmd/7FQ5AGynUtOfiezm/KvwlDVX8saAxiq610O+tpSTt2wFwgkDPhTsBggOm8lvWX0UCNzG2gg4njAkRpwt+WInoUkAiEi78l8t1jq8cqExT0p1dLXWU1emVXO0Ed8l/tNZ3+X69/yM+eQjfyFrkvlbLTyu8mv/9TpJAfHFZjaeR5fq7qMSxnoE78EuerNcpSZ+v9b09J/mSv8NW/AUKlkUyOWn+tMpkogEqZs1lbO1DI/9kBbVfFOSVfQ8tlDALY4+2jSOSCr3yRadsD3T6rsf19BnymJWnc+8hiGZComh8gGswyae5U3iBwCq1fzvsuC40eUCIkMUqJsj6ePMvFpt1NFWaPJq4xUq0NwsMWhjG2ioySwS9+YGb1PmCnzLriHy/O/B6mSek1DS8e8z6CCRho/NW5RbotXXE/IDR/pMRazmqeiOjVo57oW1V6kon5xCRb57x/CgEs0HpXPBLe7zT7MerSsRogUF39MtQkdSDXdoEUGyvno53ohFx17aVVif1kGjJZQoi9lZUExNmr7URa6vrBC5J7m+VCSEnxhHM3wXWDV+gp01azzmFqzRfasBqSOagK/VGXQjrSh7Xda762L7JHGIb5mgV3wLWE53pCE6AwHC2ytGwfK6UfXv3b5PS4VrRobELpJEOc2pakYQTcuSuRCMO0inCkqK4x2PIso5JBJnvaJzTsiHmvq7BCmjSAxduiiroPl4uCSrsOlulwgmHGSwRjwRValrQCs3M7F5ZFnH+p4K/TErhJIVys+RvjkskK0lOc8cOPJImnDmVEMlT6tbgwCcs/upHp9QMIgfjWgbfBqz276dG58Eb4DXDFQ/MAwNxzEBqGDKo1+TbZcNQH+/YiPvKoKVnc6cu+fGq3sORwjLKtVxRM5CfigV4qjiz7aOfeB4SPkwFCACcXqbNuhIjQdC+JkPs0K1JXJSxuxjlfjGsPMawgdsYeGlbSiSg+8tOjPHZODsJ+auewRsJ2v2T5L8es5UFJValAPjejEkpmip5E4ylCDaR0PXilBPu+9cCCq3nFQGfLHtlY7cv1jnvnAg8CS+OOcwpMDvOgeECjLReFR+3Prr27moukJuOs0JqZ4JF0k6VIg3A2bhm4f2ASbftznpSnVpW270IB4RjgMfp1aXnF30XLTNOrVZl9n+/lMc2k0tV/YIc0cs7M2xm3ZP7FKN06ZNbIItBtXqtaGcGUKMQcTX+80fUoeY3nLpIVhb/nXBezcD/M5W7uFAmC6zFjVWhVCC1oehQVGqXrQOPNi+zoCQ0iE0DRs0GHIInHw0Uq9uo9HzJR5SuXEX2ytuHuCCk2/vEV+tgesG4JaZE9POlkKM3p/XsRD+/oCOZ5WRI5gOfrqcEdhct17d5cMgwOEIBuPjnZ5M15t85voFqdl0gZGgMv7YjDpXzLA4datywacOnN8U8yheTDrFewdSpk2cB5ISl8xWVlUTt0ZVmzIhXyNqVWypLLcxeqK6DQK+eEPghZMIIoe9gmRAOYYzpcCWFtRQa5bUxQyk0rTJM1cf2fJ3st4+ZQm+gd7jPwNtsv6pLRM3ru7ErH+WjXTQ8ep7/dLVnQHuDNqNT8JZRfOlNoDOUHyk+iqMIWhUqD+uzT+3Etl7TJHCBMwbUT10b8uz0stl3pAjWbKqsmSZr19xUuTnNXl0XSZoitPiIjpSMImTZbF9QQZ5dQo2qEGfR7sR7rSr4sKMlGG2hYL5GTAsCazNX3SJP+AqEk89cMjH7k3UsK5U1U3wItFqpKMaQmDvSpJLZ4bRL3hIcefty6q5Kw2qRgfl2pMPuisKCmsNeQ+JzZuI+mf/x4TgYbNAY3dki1pHI/o1xZEJFI6r+Pa5REfg8wVE6o660gsF4YxGkz3UHV601nulwMtV9h06L2aIwAYb+i30raUWGfFrmDnhP70CI0rTm7txVR6URW6aoFgDo933Mr8fsad9udUtWARu8hTxJc0+isi6GujX6SwMsojGdUorRuabmvVd6tU7WAYSfzEis9wNgata+sMNQvgbe6c2PNSNNX2L14QycqoLMG9ZuCW2KhBXo8opZHEBK+Lk2he8CfwedMbDiiY2X4vYb9PNibpVb5I0HMh/oxoymgUjIUai3bv64xhQi2+9tY3tW9Gx6BeBgVKmFbCRapYDiq1TRtQbZ8fVRxTuyu1+G1ZMikzapstHKdC/tmxvbfuURxxGSt+8WWoDstidHDZ21JEsdQVvpwDln0BsEhfNNakioCO0RsV/tr8kDu6urL8+4n8TZ8FK1zZeWqN26WxFqfXQ2ve+I1A5UUh0QeHT8lADFMa1PGZrBA6uGpbFBPurAvZfv5ZGevdbqkdnzIy/+1wY2IP42x1irvQ2LTMW4HinBXuo7GgkV7q+o/XeG/eEeno8GeadY94FHhIVYQr5Hp19dlOED8BDVNXtxzdDzipLKkSFz9riD76JrI01iru3rMw1Np7khE1H7vGWCTf3ifM5H1WLMFl72NL3seFEn6Muf3kgHS9t7fkbANUdQ+tit6lvR2voq+40WZF5GBgTyK3roBBDt91PCpgzKU+/pgjf0Vw3da6ipDhF1JLWphZIJXpALs3zu7OTkeMcqaqRyGtZjjopHY29E6l/WJ4VMCIPpStXyp2o2e+iLMoXMTf626b+fNFKcKg1pkfVUEBP+t1m4NnqdsdmfmMjy9vVgefpzBpMG4nVxHtoZ77kWvF21b0utH1sIsUjr3NSVjyHdP9ConhKYHfv+QQSouCf8LWvESa2tcWk8EQZf6ANkUMIbyuP5BmOsK8B5UVuH0z+ZgOo9Vv7G3pRI9iPVpHjUaYYYceScXos84maUEwBQLboCxXJJv85dIcSZMKj1Pf6dOFMRO1/I9oPkfTkD1oaaQ8yGOkaQnFlYb0DR2T7AWvGWXJRyjov6He/7T10heq3U622SnEKyAjMgjM1HDden8P/6dBuGshQxZnlY5/FoxQWSwaEWtoPDGNk48TdDmnT96f4Cbuzx2V+w1EHXqnM7S6bGeg8rnPMVVSiYWyITjzYtRbFz6TLvaik/SlQKF+jrpva4kO0FizgwpvBiw9ClPUZ7ZN+tmmXKEkAYKE8VHg4fnAdVlBAHGVy9plE2w0gGun7/7tbJd1QR7Qxei5Uo0ejG5Wl4/+90noSmeh7VRf/4QsXezRktNa6soM8cGM9dMwiDkGgBgKiYomsn5J70GNt+wxOdMw3GCTFTrOzEGv/7uZqbMKSpWxMgk3lDZo1ZknaUGwSfdCbLNF3Q3TnbsdjRfV0lr6Jv+614Rh0Dn+UDnRtCaAwB3uxaTlcleoY4iLTKrJUvKdfmQlAvPCHV5DM4bNa+pYo2THaZo0PsN3XoZIV0Oxdn0iNWxucRI7/1vC7gpADTzLdavRlp6EbwNhTlIvU9vEQbf1heJjbxWZGY11mkMwPrhgKA4CoZoD4szBOb96SDCA8ElE/EJvFAOmjb+jZIgCjWoBh8/dGdj8mknTLE3lDLU701pMJy8AOcVS3DAQXqkBxB2CXnIxEDPgy7Pm+pe0ZVolWcgD2avsO6POCT1mcKa3DoHwCbdA1MQMt1d+STr+Xq0rUKnlCKalSrHJuwB/FoJeqO/O3DppnjwGHV6OkihV/jzAdKJhM7CoUA+eu5ihbuuD6HSz+gNvLihPJ46bmPfXxoUh30fMSWJdHHT2WvAC9dqxPpT5vYzZlpfjFvR3VDyng04EVaA2cGuDo1TF2bw536N83Hf971e+YT06cLW6fMVMEUTFocdGZMxzkCTmsJLGh8x3oNPjcrkgbq6k9ssaU8r9u9FHfF4pKdglz5HMx28Kj0u8SqkfHMcT5zXlragIgwmGC/1c+RyKrw2wcBh946oTlmUTZNjjfkgPuC1fnPPPQTjr0DcbrXYXwZ78PZusLsJJBvXA9ZhMjDsMvg4JdnJuVrssKMKau4NoC63toy4hF7DDxuwtWGkQDjZa96M/m5gnUe8leM5gt0ZUT3YGoWLMfoBHfSsoXOhTxuCytS90h+1rd45OLETcdvP+y1CETMDFWesnLF8X2FgT7njMH/ej9AAW4U9LTsNc5GRjwo1mikhaFpFxj2+P7Y1ddf4Snj+gD/YP/CXIWADncSwfr0Ss0no1swGCBnkXbEDSX3MlemAFkQvXYgXLvPMm9dhWx/uL8almsK+vgqDJwpEE2lQA2Q5uy/KcZ9oyqYJbiYeeSybY8QerPv+TDAchvaIlfdMSn/KRWUobrfy7RrS86UAsJLj3qxzP71Ch8x+aqpU1JwSWWiiMdFD9h4jLMi+HAehglRapQCM1OYrSLfGpu7Tn5xlSVooJhtPUuVqPuMeIkJCWXcI5Wee6Rx67IJxj+sd6/42xFsCAoSWU4ibEef7OvvPIpTU1BUF7f3j2kOzEpvAl6Jrl+oInDWyRSvZXgHc/UCuPx9ZQiOuJWsntQPd3HCsGK4Uc4RhZFgzTHcir574EHcjKgViDSiuOvDSml5Dixs5nhsByxkF3BVEVp0gu1C0FRFvqzrRtM5xOjFK0Kqg4yAy/kG28JHVDi0stpA6WJA9pEVPhn/Rv/cxW53vWkUAcHEbKHdcaV0iE52ZoSUXHbyHXjnMf8QdJB/lSaqhnU4ljhTRvSm53lIfGhjM/KgTokM8NOwgJsKb7mHvt52v+wERlEDYOGUoI2127iXYl6peSihM+Q2fZOUmXgzQeC1EJYkZOWouXuOFs+XCEG7+M4za1z0RFm6ytHQbV1rtzCWIRS6BkAU1mUvYoUg8XVFvJSDbMfLu28z9ABoBzkbrEUXfkuwV58cl3y/yBYf9Nr0/Im5knIOWGqlAKM9O9/ff/6DBIveJq/RLAOjPan0qq0KawgmIPUf4t1dDRZeRlI90ZzmM0bbqKXVj32oL7zJ3I3brdNMSDbmbOCcxP/DL9KXXc5iOGWfGSyjjdtMx4rfM4+K2jlJ2jmB03yn1hLfrAARcNSvlIoE2VWdsaSqqK51XvWyc4m2+Sl37ppkdHehKzkk7MwiHlldkdBlJQJ7zfG8/wASy8a5VmOPPRXrL3LGuvhzeMWNrOB3cNUYqwm6cjhSOcN+/nf4pkg8tZ286s2Z2FnXGhlIpHOvd8uY3t44r3sJUqpiEttU5hO74UyN1B4WytYGufyI4+6xuGxVqHNd4jJdLbqJEHDFAvo8cNt7eeUvi63xrWmiRh0oDhQA8SUohuIadQMGlKATnPssyVQoF5nepEuTjWFza+WbpZlhibuJ+/sjBCUn9AA8k/fgJZKR4J4VqemwZYT1OidqInS/KMktiDVjQG90o7PWLdXhlFE7NzgcttRnaBMnPQnVS5hQJwKQhxzDZuQDBptxQ9XSy7Td2qXKLWar1YV4BvdJOc0eqFXviCMGZVB/1U5P3NHg+3VbBstZTBxwl+CijSvSMkN+J/zMtKv8Rt4t02OC32AvC86SKNA/dGgI4jPr+9Pv5zNihb2gLuEeIHrJU6OwSQkGnFBg5dmeMnaUZQFGMGt0wS27Pr5MsEnMMhT4+yb6gZi45o0vE9top6kbAY2y5jza9c/zV63RzR7etldJq6hJrYTAEtu25PB9/vIcLSnyOqXLiTWF79bJXQZ+7qhl55IIKYMOvE6Lk22C9bJRNk0f7AcGOtJgbGghW0LdRHKvgm8TSnNSnpHCVk/kOlHE+1fGgW7VZxZRNhmJHIW4fE/IxlK2//4v5W+/HbmR/DtxqIaZKafakZtIfVYBTdKUd8X/gK70EBhhknUcTghy9StapDjrcm1wKTwQGb8n2P0a+z1K0EZNINo0X8Png2g37fDd9ytGEIBkU+ZT9qnOvQ9CgSo8A1oI/DYVo7dM2rUxv4ggsymDygGGPcFs3BBgqTpMJ+UjwyYp+p/Tny9u6NM/lKFSdV7j81zZiM3Xdn+ouCHRuwxtaTS3TsSMWi5KvzyC647/DtMULtgQYU52hLq5oArli7P4f3PMEoF6hAtXR5hx26v6jx6bFR/InzFJxhp6/0LrzjwhllnlD5CnhaB588IHBFo51LcKgO8vM9jzjiChB40xwXndjVkHncGYM4rWD/QS8FBb/HYK91lM88FeGlJ59DFwjre2RYuU4P9sdh8l+YfSGV9KCsF6ZRbTDyaSLr8wL4H4YQV+KTRXHp1shJemWeVLG/8I097I0fB1PQJNSqwcAXuKDutWyMthN5hFZ14d6kSxU9YK4+QecYv+Y6RwDlimh2xVcMWyuTpGfnnKwwSKT5+br+rWuvXPL0s8vXA6rap+H8wFDmZjslOjQa1CBKw1Wp6H78ZmtR83opoPUIyF0siayztc2cjEWkVTbJgYuK6Iqv+fcMvf0wsy9vI0Tkx0LInhx/l7gScWYGj7CvxmNwNeXheb3g2e8cn7hlPeIyfTimdAEL2YMbrqlfPuOhuZB8K0YbStrTsZ0LkM/S1z9keQoEL0Zn5O6jQp9h98rXuN03YHT7g2VBlikTYCfN9HeV98Lboodpl3PJh8DiG5sicnznheOR9+LlrYcK+gNx6P34gXLOdqIYpH5gwhmtMhosEn0A/rcdqLv6GLhzb4WzP3MENLswI78os0oZhrByx53sUZYttevlGzaCDkcZgs8LZ4ndsfV//CxtGNhKOxuq3m4jXUfv2yKG39vY4zIFqvRA3TXwgZyk02ivS9nDmgAcMoVt8tdt+UHqzlarW1rDDMnWI+VshgUhhhz3EzJTg679b4qmhvokjLIw1mXYPE7DLBGJWkgsF9T504IOaT9VzNREf8q02Vr0ChssVzlgtKkH5ISYaX9oS3CU1+OQRUrjM/gTKLHiy5hEGEGV4NUCxOopVNNZx6chNimAICGyLJN8ZhuEtGA59uNjX/wQ3LYy9HJDJTAxCy7+pd+OXH0ojYa2lllfWto3UGaqUo06mxhdK6tTFcyD7qkzR0gkejEmqrpoDOjzw78aAqBFVx+dZIL6jPMIoisedYVnGPrxuFjffumfuKyzFAgOvt32QKK83c8PD+SR60vEuX9mbU87HGKCEea+olQ4m3HD+So5HraMeNfbFHeENDEnnF2Fnp1Eo1PM6Kw5JSFIpFLx7H7JmXqnpTQd6L3/+o1cgvifKGrpzuUxJrmrksxAWW4aS6rvCVFxZODSL+Ql53572B3y2Fcfhf4Q3uEXd2zg3yhrJTW5S+1VDXnc4zeySbiEb814AvX5MHOwqaSbIAyJfkgmTafqgoMmBKd3D/Sg/+8POc0YbSNMSl8rW4ELByFyhBjbYfwQ6LOaCSM0T+b/FRuK46+e0rddzuDBiTg+txjg0FdoR8CXJjzAsn8YBAUR0fgJ7ns4j8WTm79BZgZMGrgRmwm0vdbl2ym7vPB9C6emVVUDOkIc2DMDh30yPqczaFxutrK9KhFYUMmektnmVBaJaXKgx5EJFNtCVI4OfUT+FqmO298iI3trKvcf2HZelgpM4fgKuncRHkqSCAUfww9GlfI8BNXjo8in1pXTpKakiU+sSy8jxpFj/TjFKlS7HOT5F8cKCsgIltGsNx9HBRrK+MVTk7w6gkYOfCS6NxWCKTDEbAxG9llfck75dGadgy+GUOIDGz/XtvH8MZlTksY0P1F53CGHfsJW5q0UlfWBeKQUn5nilmLqDyTtq9YUVCvU6Ob+OFyHU8P/psdjCDhjQL/sdxFc8Lm5UTvmvcNfMFJV1iL7sL5ngJrcpJ6D74ObXwT7PB6d+tOn4Zuev5wotz6l6v1bWhu513iOheuCVCJOmuvnUT05yxtlRN5mMhUibouQ7tjOOoeUZJj4Jl+u6PYcIMQXRB44D1PAWVHJ3d2vBOqxP56D/fich4wVZUd/Nr8WjrcCkKlBltaVLxtMdPXPycJuPKYXGDyStbJsPKhKuQ8dJKOryfnR4GxphnVHNbW/4rVtT/hmFDiPL8yotJo5Vx52h4nL565/y8ZaX2kWSfmsIXwndhrVtTIafkaPbhIKy944hUREjCPcVaWTh/cw0uYseGoaZ70GnFecL/sz2BAdKjSXVgnpMAwElbub1cUpjjc9bqSeGHz/uU188MEvVQT35CKL0qA1QrpDVMLMoSQMmorZjNXhJTt79x+6P4/PEr2K7G3Q+jyKVwDf9URPkPMX7BOV/ksZ9auH0L+YiJurI9b92Dj1WQHrrBHxqVplUvfaYmWDqDPWVWS+54qHMj5PXwMFiEiJf2Z5ZZtA5NgE3Ub8+n8wIFFbve+8hixseV7vfJK+leddujzaZVDgxVzwf1fqIfBX03tAQ3xL2eEdHwvQD2sYkyAeAljvNylZobCNUFsRa6DL8B9+iF7iYskdDx/SBwIk6hBUzYhaNYnbOuSnaSYbJQ8uER58hz0No4UJO+Ln5doXOWQU0OBeFFWJqsnNNsFh+w6ymmPVxKlzthkWLVU1xLyFQltm/IJ1epejIrQwlzzm7/5O0NfVl+dF/8ChF1tEqBAe3MF0H808szXE8miiO+xPGhQv7bTM3EBn3jKq/VaU4SE2uRsI16/nY/Mjl0CUtdg34/V7Pv/FgEzkuGCWTca3VKu82VxQs30E0adjvYQ6AP7MVXZImMVqHfVF8bhoBB+MgvnavAs2q2QUzvb9Daefi07bZYMBszXuReVMcXxQGAngz4rwl0evTGsmBCWAxPa0xcnnFgyix6hYJFbNSBeylZ06DP8kXYZ9dh2RBqYzs2aPehM5q+pLYr/9XgacU8DwcBI/heslclX55E8FlraCndiJ9ofW9gLq/2dmmwieVRZsulAdS1daEPzkYEsquFyb5UkmEbniULsH48fjPkoWtb2ZUJ6E6cM9hrr/FEuqGi5coeiLBBhH0RkZcG9UqmzwJBjorrO0C8BSaVOpe7cQFdKZRpsy47DJXqRK5k7oIBrE580nNK1ag198s8poG65A2qN+3VpyUH2SQ0xGjQ2B98tOf8aZKwJzd1DIUrf3+YpiDeNWzzhRHOUFPfrCy1oby4Bfc6q1FygfXXn9Y7EqsDKpqYePDqBDrpR2b2l3UaXs1UQNKhISWyFr/gk/9RnuvOokYEKmDDX96fZzQciYQhPBLMoxFPx8v6gZAHsbY2tMfanZWHcn1l8oEnCgjhQ/BdhrB0w3DXPVTYM2FyUPSq0M72MNy7hyTEZkFXU8H4Lp+YtaorhI5kJF47h6q3dPmEt8aHiGOoWU3eK8MUQL2V30dDyZT3JDLXwt6RTEc5Qd8n6+YT74Wxgvgmgq/VJiHvVPDeSpxyXrCQqlKie9k6jlHSZh+EgnbV93hqhoI517JznDucbxKQqnG9/2hgph/1jIVq+hfb57QzdgArpVRzgpTy9DJGidnrmIqbJl3Rcx7o5k4QC3RB1isdajPLYsXDFdSQPhCejHj6GL1uUV90VgCcyhUMF6BveE1mwEkkyRjzBhgBBGId8FchLeqAvnUe6PtjxMYg/N6Ik6wP3WTNYz7bZ0mkycNocuGrR7OmzeEV4kJxFh6tP5xpXFXCVmv2ePk9/9M/bsiPCgs6x8mZ2u03++wQg/r1JIC7kSqFhQvNdh+KhD9uaiVUXsFC/T73IIAYTvr0hybGywlqf9gk2Qc50oc2kQV5NoN1AiNoIdWtvlNgFQLD50SckBkV9YksZBHmv0IpUsFpk/c2nkMciehnkngg0mEbAHBUL73zaDpIILmceIrvIOswjLOgGY8DFyowU2ebPnCAVMzpT2Id/F4iDuLfpnZOVTR7VPMkZ1oEqa6GFgoPVGXhJOX1ktOk+MfN9mEP9tXR8IFvVhj1hpN1nAlSSCgzMqki9fpqwy/Yt1kLPnB12fRfK4oJYFF/xwoYYGi0nL/aTqewvQIkrkszxxX2tm4dD02qTZshYpROLqc/Pwu+DekxHshW34PuXGk6gOh4DtnVR0NpyDtfYx6mlvd/bEudhGdAKtlV3NhcbrYIVtUqZuCB+PhS5y7dOss72Hucio6zst460xFf9NfwudYfWf9okUOLjH+735NtC9HaHhhqb5lbjmkUYRrN0UKTEENPYDZsqRlZd6E1pNquCrqj5JYyvjv0PRQS614ae8Ue4cddSQZFLK0AcRpj+iDpGYZCmTkhNm9bzXX9wCxyEbYQqCIZRaeEbCsRGiBSjFAEw6dNOoSLjp0lGySvkbSQJkDLo+unjSvB0n+5vWFgAZBT/uHOx5U7V6Pvn6AL/lXAIQJcZu2S8TDseERfuD0pn0Nduz+YJ+kuTa0hQWUl/THG3LHEwfWhaV0LCeXfoyjk1FrTrAcifgYCirlM11uSBNuO00WcM0z4W8y4ymifw0RYM9JRz6nZdBQuP54cDRbDaRmF9JG6KSDQ94xl1a9bMeMoohz5wK2l2cVx3y1RxnH6qbqAXFfK4+lK127poBos9jE7capKfhOWL5PjWAZ6JqCtkcFvKwayEoPm0WjcN/YsQyuq65kSbn4wACSAAA6G/pePthgU8B2nnSBP+7Vmngsy3jiVp2lnabC86fIuhi05rgp71svq2JSw6G8ZTR8q2QSAdgZf4WPzdU0WhXAYGbayPtQ8A84qDEjJo6pVM5JfsJa/psXhRi9sudgmFW/8OdgPBE3R4HGBact2RlEyYk/MwL6AUB2cw/SQ3V4Jv9pB3aga6oCJmn+MOxItbrAK0E1Tlrn4i8MsOo0hUjes/qyKVMSzsGTZfy+mwGFwqCtBc8nRl3dB+BKyRo2+0IPFMN9HyDsZVkCsXaK9E4VRRMfHAVu5CV/ODOIQPBLHRnA5O+W+vowGNSmEfwf0NFE8CjWXg7FdEJkBYrwh8/c5povdXkVK6wGLTOQpk0RwY9xdBTVD+/em3lT9lgOMMoQXn+fMsoWPfXsGU7letLWIK7aArTcWDwT9uXakvAYOgItcARVZRodpwEuDDW7LkW2VLcmEXxXQSplopOYg0bsNxhlhdkbc1YyhFs9uxXe+rXjbZ7qJe9KEaa7K1T5Zho7EMWsB592jJoa9MYYAFzTYoI1ZMr+ZdDosyYs4YR8+32hBvrBzbb3svBo2tRjhsBswNGGYRYCTEzSZ28+uEbtMpNozR/ayMRsqRom+9dilcJS9q0AlZDfsTmk6vXoKL2GPEV1+x0qTsD1OF6LvXxG4sBpRDjLTiRK+MClJ5bxFd+pr3p/dGX7mZyDQPgNiXfM+FlpfuyOcXlk1NsjflRYLCIcgAAk0/kGt6iF3zoMoBLXJzXxiPcZSfUYMWlr49315nZm9S92D2cl6UBkuaflOayIPbBLFPIFyuNxJnkoprEutiH+AXtRPIaA3iOQkcV87+SRB9N3fwYsw2gMesPAGwTse/nwifhd9aJJcGFmoEequC7TMr+fuS3SUDuSBbfS/mP0aWqu78/f+JdSYd7pkxujvC4998nSgu60hmLG/CDpMXpDaDj+SPE+pY2EC5sg0SzaQ+eD3vpG1uK4/VFpN5PENz4SPmvnBiwVHLy7UV78mJEwCAtC5REw4tKQcPyxSXBjjyV0CRgTEpVMiDaEad8xjlwOAv1TEoYVc3t9RJThFMYQazJsktfQqpow06W4JHiqo/NVjD85qfspwBjtGsnotGt4qaymvJiVxEUlolnhlTA/zasZnXqu5GxL+JtbetJOlD7y0w8CojnfB8GGJgBJwraKFtQMjpNSA+5TKGKoFb4lEtTQMSKEaRtTKFcOet87admEN73mzPT4gMvMBtBdyRdXvOB2kTR7PeNEnOKP6OojAA3itIb3RdNjTvUGMPQc5c1i/Ls1NQxw1LZ+TldZWLwKIDZXk8nik380Kv7lMyzbni6OFX1pguIypqzZVY2PMlsCR93qOkeZr9GwnIN+Tx4R0PHtxEfF/17xu8enErU7rIrP5bAH8rk5mYK7yp8BvGmXqRYg3nh3IeLS/aL1OkLk+5ZzeXDsbw3VvDqnABxPFPoKTjqJNYxNn6kK9Bh2444/W1SXNC0ZejVKsXLI1vMe69Xljfn7nblUdNkmdoxUH+zpT2rkHGm0p2+n7RPGakJahgS/V9g4pQHQgkuTK1D4N0TvhckAILtB1XCqBu/JqacKOKUz8Ho9ZyqBUU/Ia+M5p0hJLo4Tt5kvCiPPOwQlIHTeNI5I/SzBnQmqSL6es4CCpMDXtDOF+jLghyoB9jzZhURi4kW5FByvSZi9SEgAakYs5RTdkIx5bDZyOJkVVj2Vl4HGdEM9KmZRYxLB0ZRAOdxwUkH+/OQIBP6uURLF60DC4T+OjWnXJVIo6PpjnQylaHrp/lYcDHHlOL7QoTCsR0UTt9sfkb/CErZnvydUc/4Dtw3IQFHb+aCY/natSBUjROBiLUFBvVVM/AJ5yD9EUqGDeyzBSD5RriKFVFBrjrZgNU2Ob6OfR7I3BjaySA5Aog8aDBxAjQqHk2u22FBx63kRYQvC3fXICxZY/84fZE8RKz0OaoETtvNi2kei6TfPGzmj8Rr5huhfVG3ZoZL/AAH3bd4MpfEKpXQyp9pm+VcD6m6oWCv1FUJNl8jxz3h3vROikQtkt3Kn2ZMyxKns0ZtnOaI+uSXMiu/qOeBJAVuzjagXCz7OXB5V9+xUdUfzQetFDpLDWHckWg84h5qeZosW0nIu24/9/+tf5BGHpA4GlIuJHe8TtlnBAMTZOsWJYkyeLbra+JtnfqEYfFW8SgDvV+jdo4L6xeytfCTx/cJaBfLO2FnIbn3oyA/zijrlGCBTHGpz0N7Tb7wkh8anmY4sZozDfG8v37rXmdU0sDMzSsGZfT/L4AYIyhOollh/V/S8CzAVM4p5Q6IbuZeibnwZGdJZo/ZVzKFMN/PvVfGUqiNxhabB8ek1mPXlz7Vg+M+9kOs5UKe1P9ln2Xyt8RYeqham1jc1yChQaQySuOav7uOwK2fsVZC5Dw7gVpm1kI8W+7443j04WadO5OmHhWtURRHqMgRRGGyLefLZHJmsG2ElPgxdmUYE4aG7IM69QjYDwd/JIrTXCZ+hhKu2NdhYJuT73v4hGsrsIduRtTfBDph2+x4ZVrkroAmZq/WT7vdx5HomdKPC8uTSYryOUwCJ1TGMNGRV7Xsgos2k32Mj7cTImKf34SfYys2neW0yTgv9vn58PN4XIM1JAf1jgQD3eXQYZduwskg6FxTe1n3gQIlVUFD6JDYAiVao7Y261eHdYFcMKyH72gTTCyJIBizWJl/YcyecX7uBI6LSrKcu0eHsBfUvWi7poarXhb4HCsDqFDNjtowHQIm4P2UDZwLi/YWbAhXodXHITQMfQej251OjQBdkIMDEiggIQOz1aOOh+aIBSKoWtW6qnT5O50wDojDQdAte+29L2jCgCDfgGXIrzP0ibAWzaa0NLTa6GCnyGNapjPm+khbaiUa5PzKfTPt+6IMgttTabMhM/5APn2PUm3AlEvifAekzbCgF7XWERNEqnRR0cOHsPk74eHCe0Dd9FRFPK/ykR27FCsu92l2TGZ77LTZSrN/JwhoaLhbFY6qt6HYRBJDgbPlNULqYT/uEVT5lYcquMJm0NL15yW7j+MS4V5u5Kqe4r4jPT46KxAj53cwkI3RHrx/H/LorUcI4MD+HP/c3EpnLgX8cGIqBtSxK2CEk9yD+GZL1BrO9tsJ18VtEQWVkshelSzzMLQEfN1eGcArT3thmlskc6qXM1nSY+WzzlL4kcw32FKrouNsqiuPy2p5LmqhtDcUt7wK+vraxkGPUgIVlAq0iQZxwhfiUphPptuRZ61Ovqxqqi0KnYyRZKjn++2lwTw2YwE2S/3kTR81adaiVTCB1uyRjXfW6vLKCBn6Sw16J7MALLkxRsn/HkNGTAvQ1PT0Ttvug0kPId1TK4WXw9w7lVYEPHJtjhOXDJLSk2mX/KDvPa8uuBROQ7+lm/r5wyw2fXnalfyH6pGXDphJmI4T5EeRVc2IpgjXz8NK437q4w1ASXDwhK0y4txCPup8zBl4BXYt7IEA42MuxiP6vNqBaR3nIulia42vJHSpEonUcH7NwAaUVB92ho984FzJHvn2SygBIUxFfzGlFKqlX8yBYE2sEk3sm6weJVoUvE9HH/+ORNj08vFU1Y93n7927PybOlqjH6+MPTtSpco0F+GnCLp7VqVN/i3XHlV8sbJcsn9cp51j0FTgaWnFAA7osnp0xE1FMbCUva6jOgytWjm0k+YHO21NwkaU8urVDB/Y2f4nIQoZRv1z6N6ChnAJaW9cZ7hdi3+JwzSnj/QTKTl9BDgwf9FEjDHcdlFWCaWiVk6dHQGOk8aYPL8B0W0Kx096I0KEmf1gkHhMRKdchixTPxI+eWKZbG/4S1G7dqhsWzd1LVjrVSjLBQirN/yxKFkKZPCt3F8SUGNkh4qeLWOZOYTd8WCnYAomwQmrR7eqcS8N/+RKgE/Eo0znAaDkIbXISgck0eQKCzRTrTUCVymbvL5iEI3l31PwMv6lYK2a6MV7yZeDsIAWpxVJDlIyusL9X4Sb1K4ZHNFaPRn3xkG5NTETmDzip66lG3RLSZy8znLsICQJvb0C6SuQ6lsu3WGH8k839OblEhOoixIrPCpGC1zSoV0JyN1hFHYerY17+yA2SPibKSCyPq7dDbjXD4j++xfB7y/Vyi27HoAQYodPiskDjssk/YHeDVryDZ++q1KJ9+Kl9PQab/wfb6ZQ/83fHileQYYtlZK+48kWaTiEQXXyUkYgCMWAC+DOSyU17Zum0WY4W3MEcielq0X3bfmX/q1AcbnkBFLBSGStOqx/vmJshLTsQr7Hlegm3wuuSFUzl01me/SU2G8DDbLWt0JuJSSUZbedCZ7HKWUKTKQR/tlOYR++N+okr3bXjUg+nzZIol6by8AsJUYmyU4Qbmx62sPgiB+zCZRzLxFkSTxVc5c1bSsW6n9Kfy8ACyxiWutqYlJ5htDccX9hjm6GAEywx830e9y7BucToJUwdASntiaGfxh/vtJZpSRhfHZRpYh0xdr43RCo94HPXGoLD+Fy6SJo4dnZ7m572jzFa8kztnQGw5rkpbny3s+FaVi3G8MYvzxJikVpu4YPgMGbRQ4NmhEMfHvr/OB5mAicAWjaOCHInh56OMdo5sc73p4J1aq/TvO56UcYEPSiLt/MuEDAPJ+u8FSYRTJqTrmVuIEZXCjFTlLMwspEjCM2ty71ktL1ztQXS2iDZ71n043Vz/B97H4XxiuUphqY0PG64cgS2DPRHbWQD7APDb/n3TfDCP9I9LfsPtDfQd4/yvBzDV9c2Kw+1Z5t0lnNQ4sQYXLjakhAy0VT8mDSmRudvcLXEFk/yTrY5yAqjdrydYmHpYchpx4u+z91fcJy5SEjh5hIKu82/X/uPuZPMwEpKtEB9or813qXpEmKGQVS3Y2i3fArRsNMQWihbNWtZJf+Fa8vWaEt2oxl/FgIuu44tLt/TslN0ZXSbqVaL/XxbnZOWSPcm0MGC8YMXBrlm0p3VioQxrsoWYGBpuKE5U/vh2OMODeyQ/5cNxRw46o9erVHVTrQG2Y6/vclEc8tByWdfLOoDVlJsdTN2ooNcedtZmkvH0btuYXnRp5q4ARsQjejUXWnNGJHfv9l86qJoIbdC1ZOBf28mSLcKF68afjn89lYKM2f6sbJgJHniUmSnUXQP9iYwBEhq0NaOwQ8HdHCK55O7t/LoC1GMWoMjfAneVpe9CWMy0O+25AgfTR8PISTMAaMeSi09LhFuw2/F3nRGAMjzzwh3hkNdmJjqFYtZNbN1EJ4xIWVGz0aDTBBsQgWpx4TIQ1rGBXiy5FC+OzVOQq2qwX72n0uKY4FSvdEjpJn78oAxTaZ2mEy6K3/H7qoxPO95zYsG3mEF4qLB9S+2GMjE/FAfBFOSv/prQ2rH3GIJAiliXYOAOygaOBfJJOwiWj1fPqdqo37sOZkrZQbtn73DlNVa23mR8AgUYx0HPp93VGB0EETifUJL0zWmrs+ceP1YN7bHrBj7eqPdPC+sbY2LTN9jfClHRog+uBH3SLk8LvhHwKumjQffKr1BU8CakcGkNaARrCqaPlaYce40nDAgBk5PDNgIOvK1GRNGDCMLBsvbEaUkXb2qK3pBH6JciHTcVcosApvPfLEu0ja4qhzmm9YksiCehogQvIxx4dC6qzvJdDE+KIfwXy7gLog9fztW+H3alyaik1qQWRTeSWMMD4LI0hjcbVRC1rNtD6EUPvKX99B7WrlSeo1bCGAvByIXeccrzyN0vrwS/vwibnmsTnFKyo8oVILn9EJ7F9zDbCM1b6eKMHbaC9Ja1qPW+uCx+TgaJmjhJC07Rhau0zJbl7+2Qsn5geS9nPSSjExqeV58n2Rd8V/bI6H5gyApObeelRPneO2wfnZA/WexQR+JgKFiPV7VAybwK3oG7RQe0YqdOVf4lWlmkqrAtHjAiMVrZtqtOJUvY5mhcgruyFdiUW/VUX3g21oXYIEtfcUlTLiq6A9tWnk0G6+vWXuDGWcjxVFzk9b9HCBDvCyGKciC5uCCicpFyzqOpz5rh1lOiQWWVbvatRFl6q+eUW6USMrINiRqMNoLIFrHEpXPIqxEHtg0thHk9ffzohNZKXglmLAol96PKatoN6oJMIYbFYwCPW1UkKU9XRE5xGss0rBiOj/WzKtBtxd+P00Yq+q9ezdEqD3Vshub/36mBJpr5GhXG//dM0oYRn8MNJ7v1G0tQl1LAMMSJ9c51woVuU5oNFD9O+fhBV/MhH58gMLJvWuDdbD7NU+jb+bcrIkErxTE7FzGZS4cK6R0TwHr+slGKNew+wXvEFEj1QtJ6DjyTspTvVyvRxA5CxsbG/OJR/wJ9KWD2/LU3d27OyCdYEibWvyAiQ2dA7xsL+xvI68lFz0rdPLwbBuG3XUJ1yTKFfN/9JGhRomDaXP6D6Ar5Zm7UzZTPBzNHYKCqVy0jt6Eluj+bqp+/GservAVFvKE9pd4o1zB2Byo9YelV7Ywgkcx/Ja1aonNtnyrNNurq8YbfJTJl0LHVnPIEyKdmCvb5gt4T0BlTA/qckmlpZLw8CRplOwt2EwWx1TIyBmteYu/dcG6/7GinpunPFICjHuOqNi6Lb9vKIZh+700bhvopopRDAvwI372nDvss594w3mUyJMd4rUXBYfIGP+Nr5IJPWC1dIAKRQzz6+rmCHAJvCS9Tl69v/rYgiw0Fdh6FFbY4lGsnUq7WA9hUv0YuTACnJXlohrPNX0PtHDpxQTVNvySFwJZLa5Z8RiM1EUu5aaK3w2B04bIM5+8BhES6+xHxTrKDQ2K4oShrfHKKP9ciOXGmeYrR0v2w//F9vPgZ103GwxKdg43qargRwn8z/58+4kKL1BSxRNASEfkCwAwmwFIVTkCvnvBMzpFZ/7u9lj1cCWRo+18Lpeowu4IOfokhJYAJ7sSrBXwBCOFI/rrauTbViT8NipeeL1/Vt7H+HQ4ZUiRCaahdL1gaTf3IujLHoXHktxLDNvX1fXne7L+8BEogsDXfVskGBxlnNjjZr5mYeGis2u4VlUBe3IKu11TpMk6QIQxSWx4KLZ4IMHiMuH6/IiN6/rzRjK5Ywydg/iJHww3qcO8Ew9LVkZ5VRdSZCGWg5JJQ6U/qHp6KXEWuGm8iw+t0HE56/6tRpsKSGD76yY3mE0caZf6A9ZVRPUTFfZnzrTdE98ESTsFleCQIBctqChzOXFbbIzeM3VwQ9/efRF27QUprSKKRqWtt6S/E2nYXlkbYPMmzMKLht0suYh57nvhQ/iZnwc2k7gPSjCrRCWsh6gJ9ed8zzLBEs6mtLwMOIIivKMkMiEegDKmEDV5dO84p0wGJmm9JGvs+BJHYP/xiAu07wE7X9MqafYi/9Xzc3Dq6mEnxpbvzxnl4juAO+ungMxk7ppPOXisSmD9HkN/m+8XSz7Ec1wU8r0lUEM7i/oNJgLPaTBM1gR3wApmvuDlj/uZMZ3XWnG7qmySLvsUW/UQUKCxnAcPR+qxDKJCt/DBMT68xGT3Qb6m8Yh6B7fy+Pt409pWNWmdaYyCeroLxas9/UarOz0i5YT7XWMftlZCvaHpEoxesocpuIS1ZlUQlUf2ButGsAGlaCwKrVAP3jFmoXVropOaxxX4Ki5IaAYkGU9Kx4loi/Ni2QCViLCnvkvYfEBgqysPFXdNDoMcCK1HH0SHKE6gjh6BpXmev/+J0jRvqbqbKsGOfHhxgEfps99U1+KxzVmAs7CeeWBYvfo4+7fuklD+AmN60dBxm5XWe5tKPCeLOvBGJS3kgLZlmo2BlgwbMCyAt80T3i3h752ZSdGr6u8OO8/p0XDKbytMxK9P9jRoT1d97jsqnLfCb7+t71fagDQCq5hxAchy5W1ncN35rqAoM+UvUpC3Nty/HAXghIuC3Oyd585cQMcGGpKkqjh2fq5D1hx4Y0EYz4yX+LHnfMBQxpLDPhNIjvvTK11m5scLKh9uIreYLX3Xit9kuGGhW1b8qf1azAqbXonAb9ryChrHOEt+DOEXOYkECCkFlZ1EOlTzJOUaRrBoAcZVf4r89o3MdCQFo3HEHk+HxUIfpJePEimnrMu0SKpwQCuIIJ+Mpl0BE27sSQo41o06xjIrpNpl4g+s4pccJHwCpmY/ZfusETI+dVmgxkHh+5ihxeKy2cQfWVCAp0FMjaeCmCzMEGeBueIgRNQ6BSlBEdemGuouod3KSgn04Bb3A0CZSqPZORUo+rqH/+Yh1c/lOqHY8XrUepfEO4GnY/bnoc4QChF5AEQNU9euJKKYZOaISH5L/ib+1cqskqTP6wgL4dfsYcJf9dj7DQ7rT8lg0cuaYyxMd1yO2qL3aTb2Itx4eGvs81P7bzd9BoaoEih3A6gRE28O24czLb0kb7tiB35s7b33cDV/wqiVYB/PUDc/u506FWk5PaSl/Wt/x6Rd0PPSN5PXDMsmlO3/jiJeSG5Z+csvOxwgu7VX9Jm9FkDmipNRKRtgR+gSLzNYDy1P4KJjGrDz+3kxL2bYTHM1ue2ysNoI34kyLpt3Nsb52Cek5f7rLogLActregh+M9QFRKfEf067llcxVL8kgtukD6dnlU1lPjMsw+XJOPfRVzo+LDGREeXD2yYl8+ae+7kClt5ijJk/U9ZW1DaysdW6XLiCGw1eYag4S0Jc3nlHsWvOtD6Ma1a0AjtUqX1fiDqni4pj/+ZxNznEj9TeH4F/zY2JuTlRC6Q+u9ndFHwUANTomXJwh41KVUY3L9B++3R13JbyTs8i8KtY3/Mj8LvisXLd91I3cBnMmiA3YT0w2i9B1ZCmVRDMwFrC6eJHsccOhtMabWJamK1lpusfgWIT/U3IyDfjg6PHcOQrsH/VLbOxTE9nRqwV48qZi/eb6PmdgZeVkTbnjhj19XqD1bJlFLcmQe9ph6gfpjuZVYAutTMpGrFoDAkNlFAuZmuTWX7Ak9DUu0NujXAVh2pg9aHGQMcIKVgG2wtwgdSKPpWQZl57MslJv3/QXy6FF39Z1L/lwBo7Q87IAvBd5Knx/zKIppOIkERr8wnOfp3O5u2QjAt3SJxJVvuDwNfyTks2VPSkckQiAYvuN5eqXudojiBjHgzFBzfLz7dZgH5DytKL8Yn7Et5Cxi8AwiSK3qQc8Jkae5URM1rwiTLkvriEdmnEfDETbYgRCr0icY5wfirYDKGtCar5hsBVOpCMYyNp7tDsbMQbWhyURugRcWwENkbVgM1bGRsgwT++Xalnz6Viufw5BFQl1ttFyKt0HfdC/DSUjSL23gZc8azx0ymBHedIcxaZpCRx74SAbRH7UwvNRPAQQtvY5OflWTbwJMBlVdEXwSao/kETq6TDyH9c1fzqaAw9Zrh/6JizYvgKaHIth51GGoGQeITL4rrW7qfSB4SH4y9RkxkcWHsXvX5lDd6Wef6AcWoq9cmBF2ZZryJ4Cejrh+GqZLI/l4yvbtzxQI+llC0Xqb74F12ceXCDpLMpetdoAoob9cTEPTFA6oC8VwQ98Bu+2IOBhJ61+k4JeitMHKj0XktCaJwFiJ77UFvpAB4avY1kdVJPyA2wSXssXQFwkRQsPXsg56egN3yTMWUrgjxJxPozJXUt66kiH6aOJYeIGmbpipR7wPtc71NGn9E+Xe6XUBnNgUaxnIZy72y9+yIHXUHHNrH8OtwZIygj3LKKdkdCoX1E57mJ6YDrfF2d6ExfAfhttTO3DOqPeewDG6a+01IWrBEYBlcR6pAXiIGbm9k6Nw1gHouIYE51Z8avdtbTfpkdOoaWTq78nFGFsuVwYmz7ciK4AjwZMuEKbvB18viCu7WmowbQts5XgF9HUoW4twwy80BXU1c8C2+L/Z0vIu2Q7Cs2eEJayQutFI7NEUNDNXtuDMkyrZWkbds8tnp/Y7bYP02pHybwbUpwj394+l+qprw3pOFOQehgjrqTEvgcxzVsODXCozcKIBJNtaHX33UGA20pqYatWtTBbSri0V706yVk+UFBKobXIYHDb6RaIMuDcHrO7QfsoACgSzBHk7b1owXIAAUQi5kcJLRNrhMxlAat5Cf3znPs8R1pVMJWJnTVGHr2mbKLUU7Hc/5XjfmAvdprNONfWjmo0xOoAoXM8fhQqYrOFE6xhIa3PrlKYB0oO8J95YtNYOI3hBuG81ErPBP/HklIIYyZ77Yxixv5PoVwgzXUPEyT2DXBUnpHwiYOfq81sqPVM+WEYWUmBfJq5WyYgUOXAsilP81l8jd3FvYR0MjgnnIBCZtOkIL8sSlIcIBRkIAMSvclmBNH1nv3e7UFP91oLqFIIVE2fCKnJKJCnGYYPSMMKrbcbx2fSQF4JeO+UKI5Vzvly6AqCbYj0NPPuu/DpE+fvSl804thQe+Pu7zR4XSg/RU+GqL8Pf682p4tTvHh3zA09n46aAI0dPH+zeS9p5T2SkJB0I6l9t9/3N4aFPNJ30y9eoU7nJazHpR8LfwP/scxj7kibKxO3XQLZuzIMO0dXjjkSQA9A5DN+Ny18UHAq8gCFADTruY3W7kiz/8HACkgYRL3TAN4Z/GJoGnTpp8RVlk/3SMgPakk4ep0lUGi9yOO0dj0gVt/k5xsCHJ/AqB+IrzhqdJ1IWLtkATQZMvd7C43o4oiXYHjQVRaImgFKLDojSle8nux0drKuw/A93ACWEqO7prK8o/XXHGzhiMuF/ZggUVF64bc03QTtidW7dGfmNtpe5RWeFFS6TLrIdI/7uBPz7PMDE9gyQ7JNClupjXQrOcTMcfc0Eg/FGJp0PHe4emDUgNF6bROQqQVcwnpJkm7URpUYk0XmnicmlpMpRgcX21TtTwQKbjv+jItpG6dsEzfn6ePbewz74OPsiQa91Jmh003b6psrqzxMS1LuJv80+bnU08Dy4sUctMENtxFmLbci38P+VCBfq2s/TGY2ffIa5OTMO9SCtDPq9PGibn7uhy3VrtjdEhLsxKK9XNobcS/hRLE7cS5qGeR0jiYQZYkFmBiBv2b8NAU0+D3aHbhy1AU725cknkhZkyj5x/WGvo4z00JNVqkiMrO/EiNvWb3J1glprW2HnB4psR6jYhaZPObRLH6SwBHCXmGu69WOsCHqXBVpgc98EoJpmEHjNAfEuO+10UsP1r2CVBUVzKbxCm2X1bO2Twgxzsi7Oxsw3kHEvwv3wOsay6M7hnIYVBj0YLwn0m46dcNB0EbHcP6VF2484hyUd5fd7LrVTK8xyhX1Jq7/pbQBSzlr6wGGdRINc9Uui+ZK26H1D4TJE+i6pmt31vnQCgA4by/fJmSbkHV7nrzuxyZuRtgSR1/0dudOWhNosih03y7dPjqBeYhuHPmJDH0c1acz4SpHS98lhwJrK+an+UamyUg8nfsxfw4TyXRsX8/fwXUh75gLvpSK/DzTQUA8fm8fasM5UfWaSTGwygwrr0ERivyEKHl6YqyeVF031Py7auI8Kpv5fvqcWjXVdr41TTvr3J3DP99YDxoRQJGDre6NvSWiE0AnZRn+nitXS/oPdC+k2mXOzRcXC5hFQWVCGPDeyUm2DMXsjam2MTr1j2V75WHdTX9Gd+5pX9I2KJnC/T6lW+WHOlTuvl2PfI0C4tWeI45kxPPtrEdTfUKLQy2LnQL+NzeqwfMebMwVPhvfEtU3CMalt5czj7pAgPlKGGsWJGBHzWGmdMFyphofX2hbLPstnvQjbA/IJm7Imw1JzfrVLFxkcn1GGloKQwEFK6Fa0O4qNcpne6jAV3LvOgvC6q0QOvFwbwmcEgyzhpkQ5ehS8Op+MFfPfvYKizoRlmMjaHwye+4ZwlYjZ7NRGqzMeHvbVKq+VAKNoWZa1xgA6vGYUV7bwIY5zr5l2yVgOSgo/nVR4Ldm7gKMvPKQ2IwuHKSCDON/XIcyiNkAHDzP5+uAYxmNymF9EcxWjcbb5K2h6KRUsrkFvpc4CyWsBebkqUDNQwDpkWrLV3cSgoG3nRMw6akpb2+FHPL57NDFZ+uKMs/LVm0zx+q7Eb2yD/xbpVTEbT2Fhc3KPKlHgGnoXVRZe3Q73LCIjo5F42dTErPvyMX/hRpUBxaf3HXbui2IZfELZEkWPrmjIe+FwsnruEcWRI1CdSLmOw2A+e7YKFLTvdcHu+rEdl5IqDLHrR4n6F9hzTFkhaEPEcr2HyCQQsFmjhKTAQVz5UIJgnHF/DwTbYfrN8foo+lK6tEsevliqeIfcZlnLKcg68aK+hY2BoxXLFKQJTyJLYxczI9sxwEWHVbNfcSFv7T4PDd+Zu/GRXXUs7Ky1RxUswcg1KtvuhOUuqB90P3X8fJ/RUMHTmg+XXUep7ino1Bf3xFmsPlRi4kiPBZyjdcQpdLdcwo8M073wYQ60IqXa7VNV0sVM5vOIK4nnSISL6egG30WOtVl9R1lUGnsSaDhh6Fxsr48gd7yD1peZWkpxR2hTY4Oty5GdiAB+val4FVVp9dVgR4zSIfvTzBxQ16Qzz+NvnQgAAEi07NxKQb9UvAju1LslwwV4UBGOdPiDynKLgl+iCmy1durX4dNbloHW//ry8ZiLGH7IwbRSD8Y+P/vbhiJV+oO3hqQbV0eEOQLaBIj33NMItaS75npgBauz9HQ5PORQcibK9VnpwpW0jcwmviWj8M77webVZOPjf9KRltKcqC67Wq0z5tpLG8ckdGqXzFzG7Xkfj1cx7vvISk6WuyNLCl6tx7qWc2TxVtkEdzVVo3MmcWvxka+KwuLvA16+JYIitBeRWSytiFAjmbbhXEdjzB67eOpGUmatelK/Pq8gZs1593MTJPPeablrMzIh09dR0Xgs6ODBUPr1/TfUKezwJVW2Jqqsj5/ux6WiBU2jcO61xmsplGWVyAo4a5X7RXjotExERsIrpX3xdwK2NGSJdBTITmwjrWJ0kcJzqy/NBSzEhuIH4JE+dcdHKTtUiSSH+cvZ0fiIHklAtHDmQxmEPH/6zYpJrC7x2MypYWkykvFc9rYG1wecH4ZDBnGBNiwewWKYtGu4xSd6ghxQ9rb8Wz3qiPPZmF9H+nxcqlOT5+eJ6Ebp2gKTggSixYKdaoaOVZCC02dir2hLH6V5J30XmdoVT5w9t7cc22gG4AjthUArcjAaC57007VEFDl7HQcOnWC7Nx/218cx0mH+zG8Ptg+ne5+rc+SqD0cKWoDpYshPEBHzZladxGNtzn/LXO1+0DKH7ZQdw1nRgtdYePE2SV8uV+id9SIbBtekDUcdVEQenXhHTN2wjOkEK9DUgBR266t6NdffgS+nY5nXT+w08trOzD0cuYuc2/axbI34HKn24eM5RwWjaBleaRJBFqz0nWkSU8Jx+xHk4Q1PWxIbvQBNBoBtXD3857XfOTkCeH7OAoVIZJ06UbL7e/qCvX1ILvzjup69yqPV8x4bV3nvjgK+N2jgWPZoBAMcO+hQ+E81JcgFzTxX+hrM/DnwBF/ATiPVpG0aEWAqbPfP9OTrDVRXqC6wOCPbg2a+YhpK5Ke+k4TqytIfXNWnoVni7IXWSp592jYNwUx6u/uj6+IOvUBkuJOpR5LUvh7LQtq8pCcYbhNQZe11Bo61rDNK/Jo0qlh2v+pmqOJscgFuPhlY0Mivz9HoymOnQolgCCXodLhIv80yT4K/u5hrw51neT8QQTVw70650jv0p2VAgqmouZ3PlytwRM8gt0dJUYDqN2gmTzAGbPQTBJkXo6pv7PTLusDULuzOgL6YyJuX+mMFIi+diZ2Uf3EVX5vkIwv/2dj1QEDo4Nc1dkZi5gcM91WAZh9B3AkL6Pb3wBhGp8ZpcQEKaub1R+megC6L8AqeqN4qb/NtCOGgG9UKHXnC4t99B9Nk4ge4TjkzzAHal+uACwxQ7jboIyE2gQGNNtXO/ClucO/ek9vil/p1IGVNk5y3/AdK50I21nSWDgU6vLU7FIXK2/0SHKVx61bTCUzLxA2AIq9qbn9bnLUA/5DiEkf2RDWlB769IKNgjJeFhybKiZjtANjj7GCr2kUfTZaVj0/3QTsoMVqo2QOIizj3tvFwHXsaT9TdmjRiv6KN6P11MdcRHJcG28p5NFZyP69pPu5/LmPzmVvMRG0VbNWDIJyjfu8tt4gNoUWJA7K+cqjQ3VbHWlzQE15VaO2GZ2W7DXAwX3uHHdmZiIBH86w6xsxDt0ZJyfNQ6pyxgfGp8ZqYpHorW596fLXQZzLcoTrBO/t+nWg4QfOidgyjbcJ1wj9Va+q9xaG/kZtonjHrJohkpKWgQ47ugYA1nPvnwU6qZ+2V6bNihvrFDibUvk9yI7eFTHh5v9pzZvBL34oUC5goxyLKd9p+tnSujSEFR9Z3MBHet28+bCp6BGucAMBgY8jhdtVOyQy3E2P84Roosb1z9ATn7A3R2A2KX836jVt7WvGn2RrUjBxzU86aKQgiuLFrJljgfylD9K0KREJrpTAgTvVzjWhEeHM1royHXMb4m29pRWhmoPKKPF2Gcf3E57DcPpSvKvWFmvFzSBGqbXvYpdNGxwtVWOvDrrY0Nag0Qt24B2pxk2duVBQ7g7VF5PUPJdlwqRddgTrL6cLF2B0uAS6wer7NhVddui59q6U+yru0K9cwX3xlTXOKt/ubZJgBNthLSMFUJxZp3R7U10+bNH1IjFc8rPmJK5tEY1NtUsAs4ekqpJ0DKyVrUEMiWSaS5yk0Cboasf0boVSh4lzazMnKfrkGmQeRVlnDYBnjmE5MaMn1xso4zfnHtdznlhDObD8SiByrC+ChTWH8mD+uz5JAINxNr+Gz/iUpT1DF9pfKLAOYOhw3bnQSA712qZNMTzMBWpJbymVQrl+H5DZXD313O+JpROV81pEumFCbpuZe8DC1IyAINZaDBnR4MMqPsBp/dYaAw3Dh9xm3OiQysnD7/+zliUwVJAqVDySn0KCSiqntrn78uO4t6Y/EV/+6X7OfXpBI/uW33Kmn16AQ8sQxTB4e5RxFsvDkydbByZ6jacSVVKs835sAJu8vUHgU9nQwLALItd48+hOUfozeTQ5ek9/dLZaQqQmsaQd0G/lktjhSyZyvw6+2zNXl2EyB9wND1QLfVqKw5+LHXLf3xepX/4yvH/ko/VXw9fzWho0x/4qsCHVlNQ5Cg42L3tIEwicbutSK+foSehhkUiME1jFwdXHuQ47kYTfdLB0iqEuMGdITR8rdblmT1AF78irqu1rimGdeVAGlxA09Mzohkl3Gvd+zLUS4lgIsznuJ9sFwzlvJAVhNMhFMe9piBjDcqdg7r0akOwNiha0CMKsb/j5VcThAGxWkd4DjQbaWSsZCbRgorlmkIFiWs+FeS6nJP4qM6h5Ug3XEUhuUUEQQWyOlfklkKj4gk84R4qC+EquRtU7QhobiXlLROM5Bg7ItFABiD4Fge2LglFWyIKfXjNVWZpBtzRtChaYel8SghTMp7NEXhcl584qs4dd3/HXfZetVBptfVoHlBP5KYSGIYuWuSYtHpx0Eqa/1cQLN/CRjG5NTslyy3b6923F0pmkMl/vWYmz32rYVCRFEwS9yThUcTA2E8X3jHwqwY12MXJ+xRjzty3gGwjCKiFcAepUWFXUxn41DBmSJZtGar+xZrbp1qSlLKPM5NWkmf5ixnrrlPhtHmLquRB651bZsjEan6A+d7Yp/71+ycLZnTWPCSb30EpUYmuVzKHeE2y9L706Y3QuJ+O2zi1CYgQ4n7SLBrjlD4FrEjneIGFfWiSPC4cx91as6ILS6625m0il5quAHd92+S2x11igu6DgbJ8iH28/wbh2Q0cfjtBU/vh/ynLT4HiDLT7PQkj5euarrncg4R8cGOKC9y7csD6Mk+RcYt1Ru+KrN/3yWh18fKFfIx9rx+GhWrpMc04MW9RdzFFJhLAf9BusewdGPocUVbmEq1onPFnbAbMO4XfmjQd0/Pu8FFGLTZ0pYy5SoalcEC8IZ2xmwKDFvYFLPyU2uIKAJm5ZYxa3AkDP52QXgGEpQgN8W7a2LS4NGPSEjtvy6z9GRcgGJlysmL4eePjlyBIGe9ZVBo20vqxUujLTzhOSCToOYR6sKNxNao0AO8Z/WAmWvDxK1wZkN3/MGC4eAUH1L9jU1JqX0DzsA/DqBlif4KzpS5/hUyDQX1IiH09xof0I8OaQqscwvQRGG7/JMmdMia/FnCOIOF71qfKKb6TvxIwqp4eiYOmQ4WVRnXTkJILI5B7x9Dd5/g0Ez8R1Eanc/OgqUom08Fz6hfZGv2TcBRPjpbNMK4cSLbEOwukAVX/ys2FtMTN4nFapwkUXWTRoPfh7lNolKHYiWokUrQEXScVUtBZwjx+L+ibbmwY1eI7zREexVK2aMc9CpikL8djAfKRhhpcUmbtpvDBsfYNs87D9op/0BxnaQy0Sr7AzdQWNZ+Il1pE10kYfIhWuOVVB6ufhbN+Q+/zY5IkQpPbIM2YoeRbVnS/rB+BhfPDtL+LUPYynQuKykkold+9JEa6y7os2NUH7g9JJcmwPuJVK80+nD7IlUoS2aF4fCgp2aQvERrER90K3jmCXL6zbZdzeyxWqJe1WoWQoeuenSdBY6uWG3/akIMG2UQ71UT5h0VKdN5QSI0r5nb61V9ZZ3io6902ALlAbJoKWIr9Ww2fyVKnTg6N5j+jARlGpQJrKZQYSx3LUMiiK24mBcCIuY3NLnSNOvEvkEbRJ3VTx72rGbg+rqrV6kooNp5yUk2/bRUWSBRXOvRt6rI+lOqP/7KOQJyeYpcZfU/iPsp4pfPma938Lu+to3wcTudbMssyQDWQmCXr1wveL/8ey/zQkynk8duN3B55OzwI1xVl1RAH79INvD0krl6nQV+Y6n5pA0Ld6beiGCBrZQGvYAyZRTQXi8+33XcrcNylmrPp8IKk6APXe7USr/G4ZXlxpuQF2rTOCN+Dc9lS082TQ0/KlW7cM1yswCJ8nNRIp3aRkwGwXuMaBXPhO+0hToJLj2shwwhN+HakT88" title="Mekko Graphics Chart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1414" y="1227509"/>
            <a:ext cx="11530386" cy="501514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5" name="Picture 4" descr="Sanpellegrino Logo PNG Transparent &amp; SVG Vector - Freebie Supply">
            <a:extLst>
              <a:ext uri="{FF2B5EF4-FFF2-40B4-BE49-F238E27FC236}">
                <a16:creationId xmlns:a16="http://schemas.microsoft.com/office/drawing/2014/main" id="{2FC00E5D-7751-CAB5-C45C-9CE94B37AA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038" y="4045904"/>
            <a:ext cx="1057364" cy="1057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La Croix Sparkling Water - Wikipedia">
            <a:extLst>
              <a:ext uri="{FF2B5EF4-FFF2-40B4-BE49-F238E27FC236}">
                <a16:creationId xmlns:a16="http://schemas.microsoft.com/office/drawing/2014/main" id="{FFFB9FB4-C42C-D372-9121-199EEA45D8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0275" y="4410606"/>
            <a:ext cx="630241" cy="31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>
            <a:extLst>
              <a:ext uri="{FF2B5EF4-FFF2-40B4-BE49-F238E27FC236}">
                <a16:creationId xmlns:a16="http://schemas.microsoft.com/office/drawing/2014/main" id="{7842AFB6-EAEF-CEDA-47FA-793287FDF4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8675" y="4410606"/>
            <a:ext cx="676347" cy="402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>
            <a:extLst>
              <a:ext uri="{FF2B5EF4-FFF2-40B4-BE49-F238E27FC236}">
                <a16:creationId xmlns:a16="http://schemas.microsoft.com/office/drawing/2014/main" id="{FD610AE6-FEE2-5992-AE23-5442FCCEE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865" y="4438916"/>
            <a:ext cx="745850" cy="33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topo chico logo">
            <a:extLst>
              <a:ext uri="{FF2B5EF4-FFF2-40B4-BE49-F238E27FC236}">
                <a16:creationId xmlns:a16="http://schemas.microsoft.com/office/drawing/2014/main" id="{6176F2A6-BEA7-A250-15AA-A674390A2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745" y="4442715"/>
            <a:ext cx="1046175" cy="263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6" descr="Spindrift Beverage Co. | Nombase CPG Company Database">
            <a:extLst>
              <a:ext uri="{FF2B5EF4-FFF2-40B4-BE49-F238E27FC236}">
                <a16:creationId xmlns:a16="http://schemas.microsoft.com/office/drawing/2014/main" id="{1C551ED7-D4BD-368A-21CF-34F2FCE26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111" y="4438916"/>
            <a:ext cx="902631" cy="244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76DBD5D-2534-AF71-C3E8-28E312B7FB13}"/>
              </a:ext>
            </a:extLst>
          </p:cNvPr>
          <p:cNvSpPr/>
          <p:nvPr/>
        </p:nvSpPr>
        <p:spPr bwMode="gray">
          <a:xfrm>
            <a:off x="1912098" y="1649100"/>
            <a:ext cx="2155598" cy="4593551"/>
          </a:xfrm>
          <a:prstGeom prst="rect">
            <a:avLst/>
          </a:prstGeom>
          <a:noFill/>
          <a:ln w="1905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45" name="btfpRunningAgenda2Level930410">
            <a:extLst>
              <a:ext uri="{FF2B5EF4-FFF2-40B4-BE49-F238E27FC236}">
                <a16:creationId xmlns:a16="http://schemas.microsoft.com/office/drawing/2014/main" id="{70A6D722-758D-5C67-C910-780208D1827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2789446" cy="257443"/>
            <a:chOff x="0" y="876300"/>
            <a:chExt cx="2789446" cy="257443"/>
          </a:xfrm>
        </p:grpSpPr>
        <p:sp>
          <p:nvSpPr>
            <p:cNvPr id="42" name="btfpRunningAgenda2LevelBarLeft930410">
              <a:extLst>
                <a:ext uri="{FF2B5EF4-FFF2-40B4-BE49-F238E27FC236}">
                  <a16:creationId xmlns:a16="http://schemas.microsoft.com/office/drawing/2014/main" id="{D70AD344-3DE5-0B59-3465-71A34106B7A9}"/>
                </a:ext>
              </a:extLst>
            </p:cNvPr>
            <p:cNvSpPr/>
            <p:nvPr/>
          </p:nvSpPr>
          <p:spPr bwMode="gray">
            <a:xfrm>
              <a:off x="0" y="876300"/>
              <a:ext cx="2789446" cy="257443"/>
            </a:xfrm>
            <a:custGeom>
              <a:avLst/>
              <a:gdLst/>
              <a:ahLst/>
              <a:cxnLst/>
              <a:rect l="0" t="0" r="0" b="0"/>
              <a:pathLst>
                <a:path w="2789446" h="257443">
                  <a:moveTo>
                    <a:pt x="0" y="0"/>
                  </a:moveTo>
                  <a:lnTo>
                    <a:pt x="2789445" y="0"/>
                  </a:lnTo>
                  <a:lnTo>
                    <a:pt x="2734724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RunningAgenda2LevelTextLeft930410">
              <a:extLst>
                <a:ext uri="{FF2B5EF4-FFF2-40B4-BE49-F238E27FC236}">
                  <a16:creationId xmlns:a16="http://schemas.microsoft.com/office/drawing/2014/main" id="{31BE54F1-2215-A59E-CDFC-FCDADD0A26BA}"/>
                </a:ext>
              </a:extLst>
            </p:cNvPr>
            <p:cNvSpPr txBox="1"/>
            <p:nvPr/>
          </p:nvSpPr>
          <p:spPr bwMode="gray">
            <a:xfrm>
              <a:off x="0" y="876300"/>
              <a:ext cx="273472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marketing-mix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86C8A95-F68D-E16E-CA0B-A565BE170900}"/>
              </a:ext>
            </a:extLst>
          </p:cNvPr>
          <p:cNvGrpSpPr/>
          <p:nvPr/>
        </p:nvGrpSpPr>
        <p:grpSpPr>
          <a:xfrm>
            <a:off x="7868921" y="4410610"/>
            <a:ext cx="638504" cy="446272"/>
            <a:chOff x="7109584" y="807578"/>
            <a:chExt cx="580458" cy="40570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27F947B-D686-0DDF-6E95-0EE7CB1BB489}"/>
                </a:ext>
              </a:extLst>
            </p:cNvPr>
            <p:cNvSpPr/>
            <p:nvPr/>
          </p:nvSpPr>
          <p:spPr bwMode="gray">
            <a:xfrm>
              <a:off x="7109584" y="1087573"/>
              <a:ext cx="580458" cy="12570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900" b="1">
                  <a:solidFill>
                    <a:schemeClr val="tx1"/>
                  </a:solidFill>
                </a:rPr>
                <a:t>Polar</a:t>
              </a:r>
              <a:endParaRPr lang="en-US" sz="800" b="1">
                <a:solidFill>
                  <a:schemeClr val="tx1"/>
                </a:solidFill>
              </a:endParaRPr>
            </a:p>
          </p:txBody>
        </p:sp>
        <p:pic>
          <p:nvPicPr>
            <p:cNvPr id="31" name="Picture 12" descr="Polar Beverages">
              <a:extLst>
                <a:ext uri="{FF2B5EF4-FFF2-40B4-BE49-F238E27FC236}">
                  <a16:creationId xmlns:a16="http://schemas.microsoft.com/office/drawing/2014/main" id="{57ED0200-C869-895E-5F2D-DAADEBB645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3671" y="807578"/>
              <a:ext cx="323665" cy="323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btfpStatusSticker154879">
            <a:extLst>
              <a:ext uri="{FF2B5EF4-FFF2-40B4-BE49-F238E27FC236}">
                <a16:creationId xmlns:a16="http://schemas.microsoft.com/office/drawing/2014/main" id="{703C7019-686E-7DBE-B731-6C3944A9EA2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555320" y="955344"/>
            <a:ext cx="2420344" cy="235611"/>
            <a:chOff x="-2939076" y="876300"/>
            <a:chExt cx="2420344" cy="235611"/>
          </a:xfrm>
        </p:grpSpPr>
        <p:sp>
          <p:nvSpPr>
            <p:cNvPr id="9" name="btfpStatusStickerText154879">
              <a:extLst>
                <a:ext uri="{FF2B5EF4-FFF2-40B4-BE49-F238E27FC236}">
                  <a16:creationId xmlns:a16="http://schemas.microsoft.com/office/drawing/2014/main" id="{12AE336D-8A40-5A1E-C1A5-0572595EBF72}"/>
                </a:ext>
              </a:extLst>
            </p:cNvPr>
            <p:cNvSpPr txBox="1"/>
            <p:nvPr/>
          </p:nvSpPr>
          <p:spPr bwMode="gray">
            <a:xfrm>
              <a:off x="-2939076" y="876300"/>
              <a:ext cx="24203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parkling water</a:t>
              </a:r>
            </a:p>
          </p:txBody>
        </p:sp>
        <p:cxnSp>
          <p:nvCxnSpPr>
            <p:cNvPr id="12" name="btfpStatusStickerLine154879">
              <a:extLst>
                <a:ext uri="{FF2B5EF4-FFF2-40B4-BE49-F238E27FC236}">
                  <a16:creationId xmlns:a16="http://schemas.microsoft.com/office/drawing/2014/main" id="{8635C3C8-AC3A-C8CB-1ABB-AF4BF9E1F0D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9390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6975EC57-7EA0-BD7F-65F8-E83F3D000377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" y="944428"/>
            <a:ext cx="258172" cy="2574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64178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Warsaw SSC"/>
  <p:tag name="MEKKOFORMATS" val="&lt;MekkoFormats&gt;&lt;NumberFormat DecimalSeparator=&quot;,&quot; ThousandSeparator=&quot;.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UNDODONOTDELETE" val="0"/>
  <p:tag name="MEKKOMRUCOLORS" val="&lt;?xml version=&quot;1.0&quot; encoding=&quot;utf-8&quot;?&gt;&#10;&lt;MRU&gt;&#10;  &lt;CustomColorsMRU&gt;&#10;    &lt;Color aRGB=&quot;FFFF0066&quot; Intensity=&quot;3&quot; /&gt;&#10;    &lt;Color aRGB=&quot;FFFAEBD9&quot; Intensity=&quot;1&quot; /&gt;&#10;    &lt;Color aRGB=&quot;FFCDB48F&quot; Intensity=&quot;1&quot; /&gt;&#10;  &lt;/CustomColorsMRU&gt;&#10;  &lt;ColorsPatternsMRU&gt;&#10;    &lt;Button ID=&quot;menuFontColor&quot; Color=&quot;28&quot; /&gt;&#10;    &lt;Button ID=&quot;menuSeriesColor&quot; Color=&quot;5&quot; /&gt;&#10;  &lt;/ColorsPatternsMRU&gt;&#10;&lt;/MRU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njPEhjUiUXcADKRp21sDU+MnKpFfqvg431dAjfmT6tDp1wm0JEHr9+GCsgAFdCxfNSFmBmE9Pzs7RluZslftOm4g+E15z+FZzywW+cg41+xpxr5O5CwXaM5siEMz8pBgqftkvHfqd08TIFiONxr9BqkjbtA+EzPaw07T/W0FdpGtg18l/MDbJN4bFknhdXhzB8tSNUgD9r4dyEalI3zbWoOp9VPyCmGYxasxMCND7NJ2MxysFYOmRS+WtUxpXQRFut7TM6EDOWl8XkYQu8sJ5FOpcJaHzBjUX8QLVeKURDs68v3/2QlsszOQvpiXpx94yNAvBu4Ok6bxcTa3cKOHMjKV8YontQ0ZD0nL61adS5IHxSvRuLDua/RkDbhCeftjACGGHa0xFhxUKsQdj4PbEgPQMJU9ZcNfr2f9rIZvUJ7JJOPubKU5vsvbsTAO66srvmeudceOtjFie3w2opxjYcyjdD0Z0lWsIsFZ+w9FAaTqWp9HT8pcBwJ8yq6IkVQPA4wtb04YHNJNAFUcfBye/LO2PA5Gt60CuhbR0wZB3U0laMxswQbAhXfircu7/sdA5pZ0aJNy9PvrgWfluoJTMk3I49sbTkdM+P0eA/g22FiOHdAi5fsgrDhbkzpfr4BpoBLYum4OBEDJvfb4P7bf9KyV002Ux3sXqao6TKbfYBQed8e/Jkc/0ZN5Q+GOTjOnmB73cbbf3jPNRDiROYb3SA4sN+A1bl/gNgXAmIpHPvnwdTKWQNkCaDt8E5erspKJJa1EjTtWc+ZSE7a6SZKLIGNX3P7Fri/1+wO7A+fSKnukRbMJXsr49Tk/XBW+dA4wGmM4nWPLOEYyxMu5aURni+KPH+DGHCpuM1uCMNDgORosv5yvOqkvquRyNJC5YVfJFx9SADl4QkdVpBGaiBs3/Vu8ps6zJnh0QcqTo2FDYlCIYK7jKcd5p9mk057ywFi2UUZoIwXOe1WvwMrMfYmdpa/tRYQ1YXup6xbnoU3vi4+ZU8AGMJvKuc77O8JrT3Fnuj8mdSbPQSyFDPKhJ08mBRIamNNolSlbpSDVDQwHoN7Hr8qtOgT5xy6iF58cEgwqsUPAukj/Qt1+hQFAmjk+K0rryB9turQ69995UxJpJ8KxCzZAq/scVgjpQuKeHaQXv8Vgcisz9sKjUPg1EzeATrJd9KozWnYK7wfVUtgRBElb+3gicNVH8p9x7Hjt351pGnopO8AT7ncaI+IFum0yQwBqXpg0wXBXSznXSoguo58IbByvgYlaYonvM2yqICPRs+xQEWUKOJhd1h8BoedrRwFOPNbSTKHggA4ieQLNvA/cSzBTAvpKyuPkKGKl15oC8Rsp8Hrjup/YRayW0vkHJ2cDcQjpBajJM56vsIUWjvarwFkDXE9LXmNQSVkyyf/LNMi0wYG+08uzpImvjgX0n3lXGp83f7bardLlYaZ62187WEnsA23nIHqMV1GUpA8d5ft+iDEI2UcsMfjHSiN9oWwLKKlIsl9nH2dqkgbDgw1DMlCyr7qzQ+wYM5F1fpLE+xU3AO5934UOyk0rey1GBUJD7iI30KXERE3fgJg7uO6Ha8ckCbBJMKG6U3uiWHNhI73T4TXjy4yxxoAx4rJnO+ok+Fr1ArcTkxilHF47+2FajC6H2AkygnZNFnqlwb53n56PDcIJdeGOCuWFuKkbzpMI/tUXE2OGAbHPn3A0wmeBumIBNsD/Ya1/uzTP6t1HaHx9lUrXnrr82yu3ZAk0Jf0Aam5OT00d080x/txLxCp9ZlPNUjmQ6imJpSIsMphqDFzQZuEmhFxbBk4iMlrr42YwLY9KxfkaGiqaF7leBBsBHDs4efYR5FENIlUh+VPfOWF4ac6jo8bjpM6CgAdpvdaBSKwBBOo8OA685jcaYvqHzLJ7N0dh27ZcijzXSpLWYxkQ1xOP74FAuQgXDbg23S8t/Eh4LpxVDDKuSealnxZNDi5k2w0DZZDhO892LY4y9ByI6DZAZtfjKGadbf+j78W0p6R01kza1Sl8nKbLakLdM5b8lS/sqXilWV41RnljtKrEjOg4X5pS83CZQqlzIteAK3vneMIH8O+u4obHAKroXhKQzIirt3IehGVPgXVg6k0voBQt3V+kAJ6cxwvjRF9Aghe5O5KzoVIzZN9vf0X3VnxXgsVv1MSUPnsP9r1kM0f2ZFm/s41qNnMtC/NgTYu2t8OiBNem18Td9MRz4NZQBn8iV70rcT+QgT64/db59oyFcTe6fJ1Q871K2hcLBX2NOzCHqd9x6zaY+iSdCVj7meDmc4b0xOLTgJPvPU7Fx2AuyP116Nphzck13q8ZN8JnF4tuz23ymXGBjaDPNXY835DOLCQTJUJExvbVfLMS9but+B8f7PnDsqLsERkUbaK9EvuVFB7tVFJFHdiLS97uc7RPtTl0vSII+7T6KV8avV/jpmcyLhk886OKZOEVpQVYDMxCoD0vgrU6B1Ffz/4AGthGETDFnDRlKMSEq4KVhGoWC3VOwtR9kSgSWjf5RDh9zZfPKN5JCdx8YZ9x9VjmmMJHS58NtC+wfUcBKwF7o/h0eYnTdtYgw2EfKEHKK4UZA4kU/mRX8XD5u669bWJ8MFDjdYsZ7kGSvAGhyIaVyjY4YApyuyjL2On9elWJruV3IizQTsRPemAikGxJcLlf0YcU/YuQCn77ohQMmJ1oghxfEBwKV7kBiDJAWbAWyOE5PpWBbHL6KYrQ9DMR3l4vISy7e3cU+JDGxUNv6eILNQBfryq6ZpkHAZ/j0o49sfE1SzKLGyUrI+rzI6A+Vd9o7jEcy9YzlhExRCZ1mYCCXG5hh2bIh8J94lS5H2h8RSQ1Q2UWFkq3UrFGTwsIHjrP4aN+UyS5wpcjtPx5I0Y9YktvSo9XPwSgpa/AiQMTKsMNzN4LOeUSFX91OkYLPfPR6t2o4Hne2uGoranyuFIaHkOUrxZNHgZNXg0XrjN8XYNVvtzAY4k4y4gun2RCmKzMCjhTzB8gnTGpl7kBFTqfRLuZBgj0zODMQpxU0x9/qpDaaxHJM7WKFdtd+ZZ5ipjf3cyzIAyIkUkBcFLgCq3rRxYQEmPE/vwezTbWyN8Mpe69JZgcs7d2sfTer88nu5palt3UAHX0WQP6YLYVzKvoyJ0O8AK1ZkWuKI2R415uXMtJRM/l4nOa6SmYAwT+vSPEyrwdxJ/AjFvB9CI403N13IBm+xive3zdxQaCCz7Jh1bEGK5WCgJZRTeqGLL8kJ8SEwXnGLlxjDKtBS/QID0LjrkBUdYbqqMrqhZGmGPZvoCcYDqYVNq+Ci+JGW0lME4azKJwyj8DucHyN3n//P3/BAnmg9jSOax5lnboa2Flj9g22lCLHWX6FmPVTaOdaQ2/D6xcpFraBpTlZrV6TinCSga40OVXGc5RQYBP7zKXZL48m373vrYzM8AYiIO3keNL5FCqpt0kDBYyy0bb05N1WcwIMq8pMa6BZoG8V7uye5wEZX/jJnQwFChpoU1rb6GA9VjptL1+mVF1LRmP8iImyvpb3NA9fjYqvx4eLvR1lrySq3uIu7/OS/UK8Vk8TtPzJs1Nl008Y6CEQq7mvBCmWW835YahkjhMSrnzJsctTHPzTjAk6yOSrm7C1keu0DbMNalsEqVteFMCopQRdnlUDTlrOslLp+KWRPA+PB/hsuQew87hCLGQ7F0UcUo+74PwmKEz5jA1W5wCRumGBG2a29kDktkjI75r0vTPuZb0kvoZvDoxA1vAzCggRW4zPllunJtXLLv3UPvU9FihoRJZJpkEZNSTwvrW20G/BjUVFT0YNzONT0uXUQHmD0LahGnEtSvqMUD9hCkwlzY3103Jb6DArNjWrU/rncLLWOYNfr8V7Wz00kTNRQanHbsQOzGyjicernuCcb7kMMVRkXYZp74LXOJrmlqGURQYFoT+UGb0CVA/tSn5DBEg5uHqyDTlTLsWbtdicZWgsK5OoaCoc/CUwbQ36B9KIgk/tKLElSYwp3nCkFhLAmwht9C0B7uoUK/Np3382+byJl0lMRacdPYOWqXiUbB8Kl9Rl3i7ZuiKdRqKSXWSXcIjF828EQTm6GQqi5o8BqGf9IqxnHvqvMKE6UYzkiIaezpODDQlUDGpOK7m9k2bbFeLOFSBaO+rfCWs/rmCEFNuyMdhL9wdI8FF/MmchnvC2WYpYE++d+ZfCsZykoGtx0AXMI88H+72kMqsVzsKB+B8ujW/c8AGJa2ruh4GUkKPCjwLZYXyAp2IDBWL5jqZuGTkLiNGWserbhZmO1GVclhZEoXdPxV+BbiU7PSg9Ufwj9f8eGBX8Qt/R48IevAhzOIWvbeVN/+gPRrdb8uyn8qvVclPrlTzC+nBcm257Tz6dMmwAGkbXFspL7mJUh7TxJSrjO4kmpMBN50nnFUig7WhKlA5quOMgWc40GrSyo9wKdoYphJ6eG4xxa5cUzoHc8umv0Ak9wWxyZh8gTcbSRFheVNvzHoGsm9+9A1nnTX5CLk9ilXQzgRcw+z7J3+KDda0C47Z3mBy7X+SOxw2NIYOj2FC5nkbRYkb29VU2Gr6UQ6xtiiEnY7UvABx331YLuc/Inyg9zKx5RCHiAokYdnxY3LC8uO65opUnClItSS5/HQ+JcE365TTTFp0+Iul7ZcOwb2yfamslbhIbWbp9DuvUpVDZWIlGnjUnLtAqpFH7QFHivh3k0rhvG+pnjGocwWH2noXL3EoNwVHmMHzb0jnDMZOXm091+S8879IgsFVbLsW5PcHi/UXJplTFbfREdwHtz7FbQlYg2p7fOuDwFqZkn2Vc5zPAPEppF/mm1Xofl+R8xr7A5MD3GdZbGZMKHXVBBbQgUv7EpUjyM4zH3yQcACtj9YX19YfrlgtOG+HLzUdIEu8jhz2WvZ8aq+9bGahXcmp/SFp1sg5594diH6R30pPV9q0Ckp7SOgIVBqtpQJWuew5A7LCW58mwy9BaeZ3R2FW3Z5wZwwiqQElEHFYMR6FxNcArET8KAWFfMMfaFDJTLCiEbIBA8N6Z+I5YMk2vurcHgpG8xDrTNnAK2qXjNjJeSzkIZ1Enqmm/yuVTxAocrrrH1CjN3QtpKw/qPtliI1L5M0+7xe+ILnjbqtQCXy9dpj9tEJt400ZlTn0h2Ez89u6DXmJVQ36b8rvLN/WmUJKWmsgSZgF/GxRaAchXaiJmRvt+LsSB3SazkhAGaOg3FAh2SCnZE3yK5r4wyKzqAbf2GxtNlImg5uSMCNjNiUsLw9gWBwxCG7mNWYCeA5ZRg0AII1bhRxIeY4HemIqAc74WmpAMS3FaJxlTMgIgav+cKCOW1NFEFeGw7l5iXHo4dgensd3h6C++O+MCSFMUZmpLXabcE+0Gqkb8j65GVvOuxo0inNLPAZ+Em0a+FmbwFRweAY+wArX0MgApJJ71RL4iiJvpz6Ssa3pChbZgflqDt4ACXSosJMS11FLROY6QvvDhXjc/vcmefd0JJ31BtL97MRtuc6gvijEagiN6+Znq2GmUv47DP8iGW41MwZadlx1GkEwss5gbDQdZPHZmi4HQKVYOm+Qw1Bl7i2vWvc3iH+HLAdvH/2egHPyRc+iHkhbQ8L8FbID+ccNCsu8e7eC5zLQaNtIL0fA8PnqCaVmTILwi1XS13J2Hty4HGcOLJSEenYNV6T+7VX2XcxjbzdGWDNUPem7tbt1556dH5dASM2GfyexfYxNF2giq9O2AEJCNXP6v264vEdcbPa7Ghin1QtmxpymWGx/ZHrth63EF3Y/y/05htupTBWzxb1lhLDUQ+psCuuDAlAdLp0Utbp61RYm/crFnWkZmCD4IWWWkVEqx7/yRJR7Nlb1EKmt1zhL94tOSMM8mgdkgOh1TN5MO4/MBcX9WFebkcqQLCFzIMPFjd9lKEj8dZ2C+onM4xhGCP/chr/W+bCV/vY8PQ0ywkVU+BSWt9z7cm9jAA2Mnib/057Csv+qhonszJWftu/qbGH+v5Z2Cyts/RegI4ReZoRJMzvYxY7wUKQybd0EAj+Up5WQszIBsVItGeAmy+VViZYS4aPGSAYeiZMcQV0mUp4DxZps2Q6JU9j2DOsI+k4JTZVqaenew+7fkXpYym830i6VZsPa4EGbf/FheL1w/dCPlZcX9UXgSEwxpo3W3W3S4Bdu7gRUeqivhqUBjgjRu9fZJFe/+bhC04gimGzntGzo5t/s6OXh3XUI65/uB5G+Zae5nXW1AfsiHzLJuIHbVl1DGGhnmoWHcjp26KmFkhwjFSDZnGeao7kgyVhZL7bEJaOMl7I8zHlcUrPmw8Bsk3XrllVfXKLxJnE1btn5Zh7fLbHM5T2qi1o4/q/13e7r9mFzLThEDEar9vb2TleLRBTgDxYWsq1zceO4Ce7OOasia+g/9d0dvsNOE7DDEo3DoZGAdGCFt4qCfJ84mBRGWpCa/jvYLuSkVFohpz/fn4/OFKbNf6jqJcK6KrzgpaDx+KLMrvk+t/UcnPGmDHjQo4qR/hiBsU+lW8YfXOwoQB93Z83bt8yQxGaaCOy+Mv064jlUwOlHR2nWXpMIAQ6Z+EbsI9TZ+TCjoBs3Hwh3/nLJ4EdJ/qE8olvmbA4tDWxUsrHc7s/kcfPrIpqoWeJ+3k0wUM/yK7UFHExOzlo0E7cZUDcT5tZ/763P8gRqScInmoV3OggSAZF8kJKkQUlBN9ieQzbLcgdDLssqMJLuUh3TpbIg6P7ZdK4sMACCTT23diL7hCxpx4oJRr50r0aVCto2PKsrkRJKoaBYwde2cEfU09YjOB10EqAQqHCmL6QPV3EcX6oZXEMSdn3QKxOyGEP7XZ2d5aTGYW14xSf/AbBmBIlDNp7XMcY1w8gfd895dmbYCAWchyGr/hAvMl6EsDk2LruGFoQGRjO3jjVwCiCDgBNrIKCUQ+ZHKZ+jkaTgu/UbPmCu4aSE0GxOgTHuQGVdjhjNzoT7+KOJwWDW9GT8pF13iQyeueQDAVoC8sF9MbtgtcOsQZmMsnKn/pmv5UO5tAuRWqvp3Nx/QriFRzDhGbBxUYlK8JG6dx32cYI6EE5Yxd2wPyvEOEEx1o1LVNZIHfDRmwRuu3EMwKfQ5QWHOcsCYUYVyzmNoROU6iVb/wbuzOe47WkJ4QnGuwHBvh7PRQ3SwgFDcRhx0ISZo2ssEcMSLx95ttLvaoJMZJFSgTetv/hXFCpQ9qV8MYxD1PXWvpf6P4JJX4m/lmXb6nQi/6rnzCJFIs7nYdGHDPsIgZZbvwW3qx9Wg2II9AFitB9HDvRZEYFP0ks//MUS7vYzZ3SPvl4U6+BmBm16x0MqMDIlFcDukwdSaCzgVCMMtdR2t1XCYbpGA9o5DVBWS3CquitcapDwDERPD/PLTtGQWI3eXTC+OuL63fbLzxmt71Uhr8yclkZTgOWODot6S/c9RNc7/9xD9KEyqx33Bhx9BoNk58o3O6u1HERDaqC42FQXmICH6EdOEOWKAHUMMQJPc8QFXzFMMcF0w7yGNDTJ/L44OGd3KiLwAkQP8UTpGSVsTEt56/A4qwX6MVLxt25OQrq/n3GSZ0O5BQZR9RavSCwoz4MnGGCZfasP4MyVWi3Z2qaQU5lR6bJw7HcJ9ictwxjUIyy82UYWhxJIZc2UZsszucuRAlNyXvHJ0AoI/BjV7oV8rIH4MWwZ4Ut9tXdclgNfo5BEr7lVw2+dgqZITNJO7T0qjxo1dwuwmTnIAeOJWqjt0GZiswmnq4rHa3z4yQ/bVSTEPWHhNaOd73hq6KfRqxBVK6G7X3/L2jgCuQMUVLU6HkZrORP4V9zF0ObS2OY9BXoSq3qxX8hpI//ie4jWbKfcbQ+OA1NtYbcMuU0+FZJPv0k1OMwuF5LzeyVdRdnGIX7NjEguBeCZ5JXyf73Fhvj1QLg5O++29u2o+Q7IX5onH8oFZXCTSkd91Co4OuMd9NmRFIFiVbXySuxh11h7lRCemEsZ90mOMpgWmVl+lYIAUx46ngmVI/OmpfWbyTukvppGeSwJOAJyxXRnOtJS0TgTzfPPDUJ2X48H0E0DPaHmQXKSuaJBsoK2ReyeXWDW0r5ojuOE3M0x5HbeQgLVGECKNENq3c8SJ7zb3ll9K0FBo5+VRDc8gZHhhF+3JJsZmUk06LZnpfLxIr1KWVitrd4xi0VGnBNRMhvWW1XrBOIV+/wVQTi9aTv07Phkf4bKwD6KLYEMmLXT8HmSI4CZfI2rpzmeTlNb5rdw7BxEjEUMpgI0KLqiMkH4TI2tKj/oCsIyaZ/czkV8ZbAnYnLKUuKxG9rPg/BtwX32z5sj7qJIDkk5hi4aczFvTCNKChuP4RdaeoBzvJT5MGXC/FzoyE3kbIdS49RLpnrzKK5DsIdnrxp3KGTT6LcnTAfCaz+dj1ls6cdxy6ANVXV9tKv26FDKkL2ddbAbJvaP9I9hN1r+cjmXxtke8h7hyW03ifMx2PMOmFZgF2NScw9LNARFmQJlrumE753joUIRwhgYUC9/nrvsscs2WUhffHk2rWy4d37f2jyVEVDZXc6ZHICFz15vdyhZrjRmLEIYSbXCk/3yIoIgSwSJnj46qbLEbgTdGFAWLGNBpeelK1Y8MiLMYgoFG8dCkHAJ1U7LP+UdbPIJ6DhvQYsWwjjyAuZ+F92PY2Kq2EBJVeg74XHfKz59MoPuTab7NHH1w3+Go2zOmuP7Mdz2g+9IfJ7RXYnY0geIewtpOePp7sYLUuynykSBggftaGYzVKGT6jBjhwzzjE5T6WQG/9Sgy/XP/wWkywp1Db3DAC4SoMZRjlzhqe2ZbsjhYiJrkCaVnTYKQppXA6nIZ8znKAPlKdJouudzWEetqqD0tLvBiVZ+GT2/N1L3GnxPxXPMHKm2bC6uKwpTGG4prEfgF7i7pGHuxczPaLeZleMJXsPMVBcSV7v29ZJV+SijTtREQPDoV9OygRXLKyVKX1PBLPiRFMQFovsxphmoqNZf2vqyphyO4B5ZQSULCUKSmfOT+NJA22KtDfChtPeZq0qXhcU5rgoy85VyCPXuobOCLq6kgbaA5JozfUTGyZn9pc3U7PZrX5GGYJP/0rUiewQEzSa7D4t1g0u0YidkTq4QNGAGwVCKmS/4FQNwkBsY0RJro8lXxc1cp1Kcd95n/Z8czRL1bbsW057CuNbEZ2q38DlN8udmBOo5S1rY5WORPYFYgngBkpKvLG1uj1q/eIgbsZpSDewpEcSkGm1C6aZyl+SLj7hOrVmIWQ916JP1WTjQI8NyBMM+CkjndiB+qS2AAQCvTN8BET62dZdsZPEWhuka1Qa56hugqmH+Uj7oXUOdkcgbfNSVvDTIAaGA9wmJbAMeYFziGz11Z6qA4AKaaCEAoSf7z0mJ/4pzJhySc92MGIu3uLaEd2eix3gwUg5cCh7IrWCkZQd5uRceNbahguNjJEE8H7Xth4OxriofHmA02505eHam9fz32tlIcItEG9MmiIP9CPTPq7Mj5znxsuqtVo4jLUbv8Qa7w1wpj35TfVLfIdyHZk0O8eWKS5/nfV3FwhjKmnVAqcdU1zGSnTYmybUARANtskO20U3KXgGDQci2B6nvcnoTp4DiuHXtyG9Rt3r3T4yedWzlp5+0GnFp/FeD0O8iMj/QLiCkLA5TcY4KDZVIx3LK8HsCN3sxtEdTeqTaavKpDqkY8dUteJHvaDzcQIReGIuH4ZwY2eswX0jBptVGJRK++mP1R5wIDoP4afZSWcCvI/oCfYUzziTas3KL6EguuTvB5YCP70lcoibKxPy9QJc2wafG+164XG+gK78glfep1li7fVXJyXiZ90Z1WTDVFH5jzAGpqYvWoWV3JkjxJWMKxQnZDYgj+7pmZwFxtF1FDFE6xJW06jhtCj+e951Bu/sOluVHf9nH4LrvK65SucsnWqjdJ4b4SRomE0QwNCyMWsJFqxnarR6MefdJo4zpjAqOT3pr5QyzVJU2KqZ22kkysr6kTascIf2kNvbxGkQEi8IeNAZXZuwpH2PBFrOi/PNc6z4hgcxMK+6Rhrt/Ps64LXgktq17Nb347noz3bIhdZ/qJT/MXvb+EsG8n4KMf/Hlj2mJF5PPwcVgP/XHWIbCMzmKZjQv/jiv1xnSjxelbcF7TEmdwetglfOSlNxrKM12effNyEIdxTjYN5Ti4uUe8R/eVW5ZgE84TXv7OA6FXLUZhikVuoBkN48nIPoHweaSkTGlr98O8rfQJxUc/4pbq+sPrT18nQ5t9zhyWecHZeowJCuKu8n7GepGrQQqRKU1c6HXcRMrrhvvnjTD1HAqFo0yv4FdzUXDAf4WuBWnmCgCtqotd2I9x4G4TxJfg9FHX9OffNaB/vxu5p4FFKHkIVvqZUrkbAKW4gVbnap02LwfYdWpCXRq8tHpYl7Ar+HsE8alkmOxcpbfx+lfssgAkZy+JKYh6XI8rSuRnqNfasRe2s2nZUAyglGAo4elSjfV3rloPU2xuWPWujquFdt3oQBmD3n6SChjlrFwUmx5gUuZMyOcHUcxcmnStQOKtUbg0Yhh8/fBHErvyNWMhOC9f6+PpGzyeMWyZitqfgBjkhg9tiNBS41ZKhMXgu1reEK/wvglzwdP2pJ1teVEDC57+I1e1Q1JJgR0IyMQbFscb6g1ES/tcmhRjiR6vZ0AbaukhGh0BenrxdtN0U+5ryWvjhmhsPgul6TA6u1gZUJj3ASsFlQrD0W9T3oVdFZgbikjV6/XK0cGhr8rpBa8Ge0lWYrTNhT2Obmv2nalIRLU93YWI2nhgtWY6qx/S7LpV7/fqQ/JruVveRnSj0FhbKxLpirmXeXbSnU0oLfVT+yJFWNg3OQ9hPD4C9MmCsDm0RaWthCrHYc+7LxcRXZsfhx30QZCT3apRDvN0xvSBQWsPEop5F1qruPYp3AyBlyKNxRFCweFjD+q61Ya29Aa3Gt7BUhPH/u0hmnhVB5KXm6JmOFc7pL/fMV+l0kKwK7Q6drEAKDT23CAkW/6YTcpswKkVFseuLwdXehIhmbEfMNk8CHDqk5x6f/cpql46X6rTlPHJSW5JqBOzfPL6FMlKAdNf+ytnMAjrY+1/cOpX2xuXnKZjHqXwBCZ/wTcQCGFb+bwL8smGsOJIp9bEKdEyHQZQ215FYI9OPrGwI7vGXao+2gyplknZQSNbDH7G259+1zYTRjtdlxqk5mP26GHN4LA07Kxw4ybtI9kxZW0DLBZE5ln4RPT9nVAlOEyh40QXX0X+78gEoQhZ44ofHBPUyufdxzOM0b8uumwoXfO0Wadc6Ps776oujrKwHOqsokL2o0/JjLpCjDC+OMXzJYjxN/9m4QbjWcFBSZ7oDicEpABn3y1zv1/KpyFSoPn5nqFgkd5BF67YKMJems/Y3aNmAe3TnxyntrSzmoPAP5fpS+3bFTAjVsVr2e/p08vRMJpwAdGz1pO51+1SXm9HTPxRBuveHpsiXw98w8+vy4P4VA0RTIYNwE7mmY8rmgoD09LMPdruGaaScZUILO/Kg8Mgp9kc27WJTbS7MTWJViTirdigJ8WM7joiH5V2Ly85XZj9J4xvshbksWzVbC6whZ74YJkboYKVLTD4S13nakxrgJ+CX3v+ftX5USLXM+U8byS7up+HeWxi0aA/QJaX2QUq5Tpt9YP/XKqHQS4W2AbvHtd9ddgDRci7nKfAIbZoOgoNQytQ7lpnJBmj3THCQIwI6/+I9RVla7nQL6iPZCeG/oLe+KilB6xX/YiZw7DtCDetPZ4ewSZHj93ziKfAEDJpCmkxIM3ZtLiEhAYrKYl0bb+2IhfsvNLvQ5hJ3dzZoestZHuKJwXqx5gag4ukbejetS8sE9w0CsPmHSdfBmx3VMsLMv1HpWMFF6YcEeB/FfI5IIspg20AJ4r9uKdhMFA48wxYdtDbtYleWVyqdHXU4AVA+lcCphsn4sIpl2EvLm1gL2qgMp8MHryAS8irINA1g4QNHnCjdcavQ2p1TCnxj49caZtq230pi095eYdwFLhPeCBdW0jDspGYqSNsY6316Pz0j5Ku4DVw1OSyLQyfFvp659UnixAsrNw88r9StWgLDhaoXYZ7Dp+3Md1ntE41oyqhTk2QkN0kD65DAuTY/8fbhYwlQsGmTKDSxLMbEYHopMDjBQdqpfClc/LJKZ71PwH1C5kbw4h0dWGPYHsLn5Pwy6wo7/wfZ9k9x920eNRkBNL48LfQX1lUqp6x3j65Ol3ckyn5qs6Ng1c1gg5CH/4dCr8ISrXnznMJOLQQgP7UzpQYsRWfZthy4PZzfEO7DoWsmI5x5r6s2I/xQf//lqUzJTr4ensAExyMTBJT0O5FFEZiE8QEv1If+9RULiaFIioG74xHhaXA43Q0Fxwqy8cGPacujSvO/y6EU9SwwzSBvwQE6uqAUl5xgXMkDQmB1r6DgC0JNPaJ94aqgV0rrCTGohC0FDv93XEQeCDW2jGWi5kPEFQrxicBskAbjxB6wD9ezXBsQ4cIKtJwCCJZyg+Lz7RW1V95wf3l7g/FN82VEJ+iH5J98Shto6IlkvwaIt4iIDP3CqMwAL1F4kB8s3dgXR+9x/ClpEqSC9iK5c1XZMltIeB7rip/6praZIJXl5MGbSSpeyhwGgE5431X0R2ekEXvvhQIg4ShnLUSyeaN7GGZrVpL4QqXWDf+m4aUAdKMVWP3BpyyJt5T6jvNrU8qfuyn/55jZV/jHg4vx8oRzagRYfbCnMsHtBTm6IDLZtoVq+LKfse1Cw5a7oY79/a50wsYD/rMYyeyNGGpD1l6nPMLdzhuMH1/QJ5wkjxzu5+oG4Pz512LV2gYm+Id7HEUgcOGdLR42Npuro67pPRzUMGnFdZSv71pq4rZ6j9haCvWtMN6qE/ZXx7JqwlhJKgrtGQfp/dmEzkS5IxRbh43IUw0ZuBVJHE7BrWeMFzaw5kMAelbVZSMdrvva0j/DPTDWW/pi66qvAlEiDHFATxlf3c8PlAVyyBKEHutctyFW9QL1ckT/h3gWubY1kASWHjrIzZXORb1wEXNbS/hrvlrsw/7hjbaz/njTYe18YrXMuOgHlT/K+5JjlWgNKnpOaAxi1RDYARy3vNylvWzpxj2wTT/m9SZDJ1dLcUZzfabMs929arrjJ3829kdLahF/pnMJamWkLbYP+B1fRwMTivftr5T9XxTZBgamrJ5xNRBCaHajEJN6v/s9kXAFcl8XiIgmaP5mZgmIAcVr6HkdAYYTt8U5TfugUNdgRBlpKwfGpKyilU2mVYR0z8Fwq8QmpPH/b4iUi4n2nhMjk+8g4Onf/3b99dIIYERQGQ0LCywURpwKii7LqRNPGNGI+IvrzVOoFHz5MeMUn1aZV2Aj4kJ7D+0ahPH9Vu5Vy4CMyM1Kl6WyjnH3pSw+k4OF0x1W+kQHeyXdiv+Y2qInVnkvXylRFcswbdRjTIUg0P5LHYlS9h9GjwWSoSjoxgtjKjmofRlBENblq5mT7IY2/WDNoeutDoLxLeWvokcgLRi/Qd+e3md2l2nw0/xi3frrVTONz8TN4nLUN8bdl/evQI8C2HcZk+ruQ53nFfAlpwH2QUy6efcj2UdRpzzZ2ahoeL3BtImDvkfQaXOElN/kkSp17av8Z0EvPADC6YO2B43Oin/gSda4rXZ319FMW8pxltb1NtrzgtZy9k3uhTRR4Qol6YWADvH2NqkdZ3XlshtnnyBk9++ALhIY0bB4fcMEZ3iyIBSUKZpWHP2LE5i6eE2x158NHmOPWoJX6DtacAzg+NVMoX4ZN80+Nt9CPsryP1eTetXZuC/8O5mPpQtshobN6XmjOBXnchXfrPRHrHGNTXKMPzVb6Fd5xBDgRebDNoc3KLekHfgRhbpXq60D6AN0YrN8BWE+K7TaXY3Swpw4XtKqLFv35TpsbXzfTgANdO161Zev/aMC818g+lMGY2Png9zjczHuNujLODfkRyZ/6oCUvTjCLxq5abF3P5pols6Xu6qRpBMNslnRnEpxteLw+vINoiULgjfswbkqhn2z5NXnJl6+kOJbv7UYarSnkN+QZgl6wtOT1d47VWGBaNcawRy4ZwNDzhgr2+rhtr4uICtDaGOkepHu2tXCBwxgWYjJfy76N801hygaEuvjCxL6wT3KRlZbp98CHlSdMeZ0NUPuqlttxCLuOprxeXwdWedRMASniiVHyyNjzw5VFoYogd0Yl2miMEty3YecY0GqLB7q360cja+4Tvf9tnNZandSdPipSiFx3Ly6Q7goXNmRRFKcMc0gr+kkEFG3d+5KnA7xGpllUSsTpQSLmOjcXoJc9BJ/MfO/F7iqGQhip0pA+yxIBHC+bnl7gDFYAOYQQ0I3hMwRfZWJYeC9kaX5uKCVc9RSnL5MKct3XUsM8+ozGdjGwxrgOAWWTux4XKfhOsrGdTgMyCKiLC1fPfzfBCKhxnONFAtoTbu2J5FT4DFM2poIU05yGyv2GoIDof1v/kKlnlxrVFO32Wc4WwYzZ6+F0g47DxyzsmjlrVhlcf5lFOc3qkjhf74GSt1CdFmj5OHn0XmsnB1Bdj5uYzCz4CBvbbmixj7rqgzd8GrfiLLmb0DdLjCMFS7V89ZQK6dUm5Wtis8Krz3BDFfiOnOdXYfERplyB7KPzv8A1GfzjqRp1Yjtz5R5pVxEmgRTKjBbQBD8lMZq5x72lV+JESj167LwzWk1CAf/OXPN8la2SAKeS75RzenTXFui2euoC0kbgbax1VJ0NczTyzFVE+OsdSKlkjYSND+RocRtQ+IVxi9DhWfu9aah+IvArJ0m62Dg3RgEszsLdSAegAsKDhfkE0CH//9ZtQDjBO4nGdsLR/1E5ezZwYWjaxiDTcgaxGxiGgVdWcF9MW1cBkGlYaYP7RutniNi46yUyze6G3szsn+Mc/SrdRlhxozxnqIGMop4q7gX1huck1T0rmJ3pMtJdexjXiIvczmhEo0Gtyoo0OwYpIq0uW8UmO9/6CLkGcIX0J9dgWx5aNS6gbUaiqPOB2NdHn/Aqbe75Z61CvapBWoXWrarUGubOntkYlKv1/kMawN05WGBupRrOj2vgf7BzQNU8mJJ/eIjsZLiwRi2py2EkDu3yXJ/A+oPGYhqPifCc8qcr5a0qFR4U/fLBlw7OdRuVAFpOXvizsL2ib1pUrGiJjK9eeB8yZ+eeVUAzB2/eKjylzJYd4MzORYtk3eI9NuaTJuConD4r3LwsIE0xbVLQ+WgMDR59iCJgMNuKqt6R293bg/UT85x5w+uEgmkeRRmDgNBYcOTgHaKhoojOyKdUSIYQqeX56s800pTGbb+CB683G0Ew2KAbSSWofUVRhKdkl10fcC2wGGzGCWfsGAPeQvHVH8QIcpk0BTH6DNAgs4SbWyfNSVFfzJwyEGWnu4G6dSWwpT02U6MjkwoulqoGos+v/eoN7YmmJ62nLuUaHhgsgvzwzpVsLu2JpSwZEw4Z1Fh0GAyFxDVRpAJBVha6lPJ5TfEdStzz4wDtGTaQNv+Ag3CRC568bBRSIvOKS6UBWIDBWBoeydOXumr9QllCriBdj8hzMhSkZKyXBvvOgROEWQ+mhtMU5bwxz+eKKCvLPOA9mNPQGljjtgJC1GF8KRvsUAa4sAGnV5fOCJBCAnewVG0Ai4bqI756pAao25v1ZXmm+RRtyVMpvqMrryYHPTwkla/AKW/2BbetXevduDh5fmlnpbwuI2fpssfniqeefJ87Q48cDK09GhHmLeG59dkv/fo9q0hQNW3Q55G0klUQ/9HiRe+/3jqwjt1YDKJZ68OiXVswKID63V7tliyhvWqqNAFQ08NV0U5lHgtxXr8HWaAOzoW/lUrWpcU66Vc7FUDMvx8+HlsxHFXLeMXZz+j/jkx1FX/F499YL/XV0BU/Pr9Y3j5F+QTE2zqnGBHpkTh3z5xbqlSyQmSeO5NLTUAzOVmJAxCev3hl5TxSueMyBBYWMHnb0wP1WsAFLGCCxa8rjhTE7ung2CoL3Cg3k7YMZShG2NGh+LIZr0FAjy36a4owQp6nMoE7ETzZ8ullXm2PrO457YxUsHzY997WofJV0SeyS9h0wxWYcpJa5xFOMH2wtyiAvwsj57+5klTxKDCtZoki0N/OXJNeP5h5PzP6Z6EBc9uheV4ho41W0qVZyQY8XBfQtW/nLOfOJjadVZFydfxCgTZwF9oMiTcLSkweHW6MT0wBzkvLwwD9vgw9LgSthrJTSqoDy+khz718pK1PPwF8vjVVcvOnLmc2eQM+8S6/72cSbKV9eqj8t90KOxV59US86lqiKKKscn86SR00rpSBrMSFrvxof0DBFhk63DMwwZsrtrZf7KsOLJ3Q5rlHVE4Qg/iTnj7Lkz14G0WuA38iMb4XVL1Jqr/NN3huV6Ftu5x5j50uqOmE3owqOil049J5Jnei7DsxseOEWdmm6pie5RRIuAzMb7LLsmH9ld0OHZlmhn2C/BcsnT+quQCNltCxO2kqgSGVPKf4dXYUp6zR6gbtjF/o+ehWMfExkCpLQ+YmsRspmCbHHgjE01CBilfU7MXp4f+87JxEDowjX8GqtwZGVGMOyj0hb3F0Tlb/WQAyqfTwIBQqw/eQ1Rt7+/sgZwMBlS0pyf6iWS1yZERV57SIYhweiJzMiw6UbJ0ttXu65+t2SpUHP1y26HCMYUyozWGoEHf5LIM+Xtf1sFMK33bepMvKgzSunEFbP0lnYXwT1N26jqkSQv5c7Ddw7b6NxS7qWSh98kEX2zo98iCv0JKOi5RMT/UVwQPXWXzL5UxYUgk1iM3zfD22zuA2JGDbqziekYfMOp8RzUAXwEi95vW74TUO0sQOYsKXxWhnZKvHnxjXQrOGsaCj2KIQ6C22Vs4jzwNF4ubkrWtARkpwVS36iFINHBPq7up5GOL9DTczrGHjZ0hZ2vkqcaicy9z0Xc1BIba3GT94k4bHZ6odNMQQhKOLIZZLPQVIv1Ir7pfhN7Z9Frfq0MNqlzBRufwyQabwwI6CdhSE+JjONvzykSuBChyc+OOeWQJmBdH4dKsuZnIt8mtvQkFBCSubjNxmILWBL/FzhLx2jCQdyBRetMxtWKHY8LtGaPJsPrYf/z/fpAcMNgMp/dT2xW2RB+si+5iQsZxj7gCuXhf4naJZtxY+K+A5O0O4THVhAMl8oULogeRYSDIxt9GJs71gAWl00CAdQqY1vvGAZzhWq1NWWTXeeYAcneY0YX11ngS9UvswDDlKwKHxmi89rD2+qqyAb5e1j8OOhjIVs7CbA4gztoY3pSMEOoFWOJXmqNqSQrd6sblpaFf/hu3zyNrT6VlhYoe+n0xwJQZZH5bmQTt4H8Vb/Rme2Yk82ogkd8hCGazu9eQG4nQtf7WVyUyyk2unr2D561rfjj4qmsx+mhQScNoFPLyMKIYvVbD8hQbw3U8hVQlPCpMSEWfoyGuDnDbvXvj66YDAbMS1IbD2N/Y5x/IH3KdWbHBwY3wFFFhBLLNxsXn9veHReKg0J1Upr3Bt6fXR06cTwX/QGXFEc6WsPKnrsk8HEJAugx5CC2/Xwy2U26mJKpjU4QV1iPFbFeXu3FuaHfQYbJkjpbJiUTKBKeJUOpqsYfuaLDg0DzT7Ks3RdomLal6KowUL13FrPT2+wXp0w8xdhX1YYqQtrGQXUoHv2PcGTzWVYy+HPsOna/ezvf0pnUX51j2ELcVTP4ozORbuEAebgv90dEGOxNFDtKN6ipUiEV7kGJFU5sNVK7y5l615BErIHTDoCjqAsR9AY9nwAAtJ+lvj/kx/ARqh1xHsfUAKF4VQ1JueqdsD5FHJs1X6UehmdGT66HxGAx5IZU6uU3KcB6KWEJnWDWruXv9vN+BM0LzOw64/DDvaBrZrbfiKlVgJOkv6j35phcpIV9RMWx2Z6UUaHpFyFoM2PIVk+ZJOjo5+rpJj+foSMIOBAB6i+FWWELhIDFN1JRfKNm5DvDy0CEx0bhBwoZKY1RfelAwqbJSXE4OcaBYMugYJY6/KiWQ8K8ongP0l3RHnSznY8StCE6XRCWzOb6+JghPWP1/uXseIBCu4ELa/tn+2P+peKS7+mL/xCBAMBaNWdVJToawL+l13DI1VBbPph4KEOfcvoVFC7olkj2BuaFBgxhXqeCUBkjJHTMxRB5C0olX3ldxPjUGG01OGL2uD2+S5TWLKeGQL2+K6vUewOJZ44KIIHAfZ85GWIC0a6QsAJtXvwLEXJ1xIa0ZK4sprqwLmT3zx+wyTKdqLtcy6eOf8kqqx+mGWsNS0zNAh+u6zq8sIRMLh8uQ6lzSPNhkZXZdEow3o3ZOlkzRxkY3pYb2O+CA7nq5YYVdRavG6yKfGdJ03i/2/z6zbZqgH5Ack2DbbRTHiXN2Tqz9pB/92aue+W47BDww5Rt/FD8AImLPyCEwRV+e+FoJ4UVLlRASaMog4VkenEeM6NooX7X2oV0T/NZLGF48uI/SuTC9HbNX1NBKKTmjVppDNfM0r5g13u06iThHoWKOBioHayWO5sB+0DaZli8ZIP+/Upw/i0B6Zv4KiZUZGlvIW71CsCgb5qohT5X+UGtNimtGccfIhChaH52Z7bNXDMcvMMFotBoop0YM5WrYqbIZopjZM68oXc3mktTbjzf4dCsQmlFjmzwEvXuo1RrBwblq6yWoIoT86jtMjNkUrM9lrWK/AdEC0pjAduHb4DgxzfmqtQXIiYHCR0NDPW2kBYVqcANUqDcOKzUYoQvMBf+Aid05Y1iZrN2UPCVs5BhUhey77CSiqhJRdmU5IJEebB6/KWMQVnlsD3aW7y7mMEumAB+gZqWbegatM0IvK9rJH038/KrfvTdXgWTZXT7lcEaN2KsiLAWOUaLhAPKP9dEuWx+4JlH6tYw7Vx+vT6jZBrQq/fvdGCKIjxx9LpVq+6v+dRMEAw9BvOzSGuvEXJ1TE6JUGUIJb6u05qrEWqgHozd3fuUC6ZHvxPSdTGcBZl4+NHO6khY8bfr2Usq5g3Vh3BAAVMVAzHSTzgJc6XALV4BjkVatIdyiaUSWu1v4P4PUyaGjG9v9IvKMdVPRBxWgxzfDUJQvWoeuTfxMa9AKICiKRlmBL3uGKrmRHPxvbG9qnUg3UuMsLtU46XUJh4xvq8GqBZc2+oDefER247/D1qD7Mfigz8e5UmLppCo14f0vvz+kRgQpVcjntIvHkvYdqECzB/PrjGFLDLX1H1ZpOuwBregL/qteKYRNNW/IadzyaM9FUhdpNnANvh6Pqr2hOrcMRef929LARv/Z4rZu1OteGrF82sR5O0bLRa+VuFdfSF2mge2fS/l/W6x4I8rY2ErfQSsmnyvZBWt+rHGJRyX8vNAzvw3kx80yM5Lq+BRLrWvZJ9t8EWGdNTe4myXiE54ac5ZzhlfUIs1I/hIiabvbb8G9RmCcp4Zu5HZ8AWOIZTArLw3Vb2SrjGPFI8M/vgCV4UcbDI5hG4bQebWzOjdszaJatoDbsq2Qw30Ermc1tpibbrOWywmT00720A0sQmr0VkyQT6c+G139A43dl1/8UZvBYgZ431KxtrnmBG/TgPzFabdQjXGnZVYu+KmEtV/JyZYlXeJGR4+SvBcLL83dPoYB6SsB4sHP4n0OmFDwriyxldCI7GHjv3zdO4aCT9WpzKTQJt4Guuh1n8ULLabNlLv4X2MfRYz4i49a7W/hgh66e+oyy8ZgiqcjhHxECpRvsxr1qeHdqUFD3XAkUAtEjGBnWKdAxvOBihu8jwgbiTF+TwKCv//F/t+laliz/cInj5iowJVumQK3t9fFCIZGBcqkSqId79A34EFJPlXW/wp+XAV2X8fveU0yhy1ZsTkML+8WhkEq5MTpMZbMLpIlU5TI9W6RVSroTwupVc2NlXq7BmGaIhIgtow1SZRF8dpU2EQGwUXWWbxyWHDcQnhaDtubeJ6HfG+KLTk+O0nOZgkGD43JyH3HQp5xRc1Eva2i07NzIwLyo2IAVBcEBGfOiZwkAsG1fnfj2C8uBxsNUM3oT+eOU3VVEQVNY4QbZzdNi1369puJEvh0GxJYU2yAAEUapbq6te2TMmbv+BO4YkjFVzNwvccapw8aKhgVUMB65tmvzDBYCnaQPlW6+qxzYuY0ZTDLyzMxNqqgwID+9czM0ytpN5VcZwplppS6OI/7w/AFFRjedHIDpooH/+Q9Mub6tHaaTCFt2QyIX6RafvCGIAeZt7FiVQKJXIJYw6iSldygV5Eaa2nUAnM00Z3aGJdT+Rvye16ymUkDM+Yrd2lrX67VGWZL0mIo33RijCUmG8Z2sJk33P/iAsrTPgulq+YYIZFoRjte4ibYEhZ5BazoETjH5qLnvIDREv6Ait1sz6VRjeNhuOeoPDilWMWODnHGWWgGfK0SEeT7ha2XMghpCy9akVPzsv1Otn9GspprUG4ghHOh0LjN6u/DjOhhgNwZSAVrs71C2H9XASoC+tFN7s62Bys46R2cEC5evbSYSvr0ya8qsmrPOhQswxmF3ENfo4hl2pZAfIuDz0in5sWcdDXxWPXRpfBss6BIxdtXTSOSvER8qdl5GkciZxu4P4ydp9As7efFUk6harWsRzMVFRu1L4TVogbcw0LJc/i1Blwq8w5n8ZW3DB4AnT3A8MT15e7vVX1dxoC1wRI1NbxupaAy/MM2/+Umz85f2f0NAdOArEk0wYFb8d0b60eUdPMarUC8r/Byp4ybtO4DOo84K51sifpUEfNkPYTTZt1XziXBTOjm/hEcx4O/PLLqEl8Z4B9cD9LuP5ykdGH8ckYDv4DsKhNhCHEMYE5srJwmjS271XVzXDJAV9l6wVYVf56LKhoCmokVFZ4upb24F2uZYdcGSJozVlUDx3a9r5drIpHdMUAGCtaavQnfy1BRFte3QJlSZJIy2+XK65UCNBS2x9X6HOLEmEeFL7o0/zF3K1WJH5nZARAi8GpeQwCx0eaJChtqkheftyY8mQ6uinQOREnzZ7ua+vcjFlHDXvvWnxnGDDI/KwnEFWVHepsWf3MGj8SIBVU3G16rlKqUzeD856r8MI0vKORA7AQk283jlBP/SNwSAeqq5QeuRr1Tes6AnFHSCLYQU67FTY3QsBsRsUYvCacFOD9y5yJML7O+NS0AnUb+R+XW0m8Y960U3za3FXccb5ygShc4al1HrQVvYeGwTDZr4tvYyP0QqH2Td1Mo4QuvMUkisfkKt588gzaNeTnTE4ZhFys0wDrwK+DShS7eTwg1XyCYbHunzP/HK8NDwtIgHJsI8o2+ttk8WzSbUi/ZtJKgSZ3TbtntA8BB6PINIqMY8V/U2ZeV1IE/ESpTfdrFCIKBXoMXRJnF4IV32H49Bt9UvkMybeWNV5dAHF80BqorMsHxE2JmxwBwPqHn9tIDS/xfxZ3OGJUSVlgph4NfNItwtEkbP4Xbwib+JvDhVifVwWN/cwgc9xN3dMB8BPsfHM1JtkuSgdQZxi46aLfEt+VzgTOiOjyRhNTt0vWr6xDe2kv++Ctw9CYN/ScPs1aJrdx0XVT5NwSVygp6rpmyNCG+8nF5aq/uj7EUqmJByNkH+4AZQpfifNz5ejJbO4lqlTTB3vDoPEM205bizp+r2Ne5jN6lGUfiaGYeD3G075IgmeUUoIqcUzb5TG0g/IJvBhtbD4xf8Rdqy8/hRhL27AcbfIlKkKluN4gRjpLeqdvDa0+gNrqSC7VC3icaEodzryqS7Hc1HxPIpU86lLeImgiZNAqQC1jQj36bxNDXzfZipN63j/TGfDTPijymikCsth/KdcEn62Cs6aCt3nsoawjYL84Jx2rWIm/Abk/inmnA44GajDaFZ4pWo8ZYJFwwzCXuIyuGF9enfgQg9Ol//UJ+s7Dm7+td18MsaFBgoa0o7ozDxLSJHcvHsPnKR746HdV9GD+7IIrC4I5sAdoYols7lxn7b2zfaPhaxQGLjf1FjKjKn47Rkn8vZKQIqA5MBOE3PuEQ4yrmfBCIQUSXXu5BwuGVCE4zTIzW8PZJtBF7aouSxv50DOLylYhUEnvfXzmw2c5FbKJVR1u2dYS4qNUDMHuN/YFu6uZ4Gc7852jQmv4KSGxPL259HOAkzKSY4Fms16hQlle2PSSRcnRFGj/9bBh2N2SDrejRW7H5inJBQObpw+G6qJAU2qbNwg+Gh1EtfybaSjufkOwjog+3MAY9QlxkAb8hyp0Bmg4r5DkunZkDlclCfsHJkZnakl+E7U5zQ2tk3a1PFYkGQ829NZnwg1QZ8NKmwxP0A/8Hctwv3vgyw90bos26ubtyVdJMRFGCjRvLSN/WskP6uu1gLZAPcYR8W601AA3EXhcsve3o5RqX+qZRjjLBGQGObkoks7E8y8wciMi6Up0pApQssOvdsAGWzmC7OXXqpfIPBRQ2jDsqgEmm1T4J+qj0E4Skl2jmbMbserrhLXGJ2r49+aGiaCxcNg4STxkHQEDvlvJpQDqafn95AT5NyxAcnIdTwoO5F8voGhImi8yorjL2VOk3OIIEYJmsjSvqMS9cR0bZTKcMcpJx6YU6f8VjCPMRgNQSnWQlnL5Tus3YAkoGvjOqY+ruK9EccPmEGOFWMatIF1m1qEg2/7fqDXfnUpYhNR1Cx3teaGMH8j/St1unlHEcwpKRpTHA6nwU5vJPo8i5g1Ouymy7VRkSpUR9EOF3I7Qky7GqIJdxc9pCCDk5EBLqmK3K6BQeZLoUByCuX4/SP/D7fRz9PhJen1+qAwDHjJuzjBGXI5ScvHVDl03HUL8GVsSBaqDETBHzPOFNMQlfGa93IosikRfnLmOsZIpNlIxbBdfdpl4QmNhTQCMuG8tSV9nQqulsmh7udUFyp2xdj2JTUX/V8J/wrhP1smrmR7p0ExC1WZ6RHiMywaB2O4lz5Rg7Y136c9AAKZteJIunOfzqnvLB9kk4rLlBCq1NAEZTQqBy7qxIWmz8M8uUjVA5hjUtlgl+N2Dzlgpaugh79idbQgHwDgWPPwr2N0gnPJgCAf/wEQ130OiVoBBC8xupUjTD21IW1tPK9f9dL9IX2QNGXZc2Qb2/NWaYc37MFRyZWNymnrrzl531IDdt0irG4n6BdhquS0gGpeY1cRo6v3VScX1zN1FI/wIQhUG2nHOtBOJeB6xFH8mcTv4K401vfpjZ6owarwQU2jSm3+WVg5Kty976xtnfz1TGXdGx0IKVFZy1jIJdFwHdYdHQchN4nntaoxaF5/Ua89+rcswR0HTj4dOEda7dTokK3uZpeBYxkVJChvdnoPqlUYm1Wp9O4zUhWuNp/UjRkgPtUcGeNg2JTwCNwQ6ZhA57/1w/XBa4L+IvKo7sL9y8TVwKKIIfedalXxZXuzFF60VR0ODCnxpNz4DZJlRPX5UuHf8kBGLdJWvNCcEdFUO53skoRqbUPVYGpEF5l7XtEsObkzYLqZajjgnTYVP3QbPVMwQ0sN8M4/xDHPd8x4J7Ywnnwp/eUtpiXBUWfbR6Apwm4nCd5uZxQFf3e/SfWnXxgq4hAwtmqEgOIWmlRO2ANP4OP/yACfZFoHr1lub4vyJEI64shhWenmlWv8MRF+cvmN3nGx9oiu9lA15KdW4RYRWIRtn8OwMFtu6kf/DHdx/6fNMHn4PNHzkvoYi/AqjBFXdKVlPmjzpT+WwXbwq+0hAcRjIo2UhNuE76NkYNFwl0cEo+3Z/C+NeqV0hzv6XAAmpBQcU648W0wUz61Rf1raJ8C3yO0vgFe7XpQn2iTy4Ro16hl4rx0xQOIlKAugBtAkFCy7GjhYOewdvmFa+TJpr4MJcUwzpOgyvua5lS7P6LsSL9hnL4ZhwenVzPE/V1zL1WuURPAxj8jx8Fudt6xNU0NGepmEi6EEpgMBaR/JbdBZtURLahDoxo7r4Xt3MVxwM3N0NkKRUA717IEbkL/desc2H51Z51d8+CiJ9+SDnJ7zZK17yanzum/j4u44l6xoDh5o4r7VI9SAZN/UKyyntnwtxkaojPMhXI9KCk0ovDw/NWkxAq18nlSkuJGbx+SnOkaG5KPgHRvkjpwpe5rvct9OePyvX6H/WfvuWF26mUsh7+JEoQfeu6eRE78O1YhwU/fxyyirURMak4eIZP0xu6r61dysdaXpVMyGTTT2UP5Q33wGZfKtpV5MXJWDpSbC8EIJCpIfJSMk9GcCF551IDIMu41BVX6tD5cz9hf6SMNtjFKWbIn6LVmL/1xcbiwWbB0SvVrpKEzFJ2EaIN++fAadCBdEMBdDeFVZBlJK8QXFrD6dpa449yJsqPbtaq/AGsAoXclafrgwKqawEzHgY1hzA+DlMw+mCc6ykh95NqDQO/0/SVXp45p5zdGT4ZO1Ec0cVgF0Bn2pKOidfrJozzHzpPhGoeQah8elyOwMg5t4WUk7cq5sGjVdsHeP+QzK8pzX7BoIOg3fUjwFdFGhxqRuRC51Z/fA43QezATwzajKF0+9q9nOEZUOxDXVcKb8tgnkNayVkBGN5rmfRDnqp5v+czAC66FZVuDq5zbcoS0l7VoCvb8nDB+gKN0YfnTH/8yiXdQuxOfj1ouCGsd3lssWE98CytdGgWLOWTp5PjVaTD+Mo33SFocLzxB4V1msMgTt9dxT03YK7xyH/WdHjA34p+XCK9mur1z5kiECzKZc8kMmOKx9AWeXmImJ3eyXXx9N7tyFl56v+KgSbHMdt9Sxb8wqtUQ3YeBhgDKuanhvYjH2vgrWyQNlTYopqzadk/qUgg+Fa1rosEFN1v3Tec6s1O7SDbh+7fIppXOHPqWyRH3F9h0QiKlchrVPR1ej7rqhQnIwRmhWcDkk7Sdk4EYYKEOxFRYb2mlTWMEFAzmKLQZn4yTmSTFF7pTkjUpAc/j+zZJ7v0oI4zUDqSiIuNfSUjL8dXw62sYt6UJSyXWEg98OLl9gmTFuZEMlUp01/L/n4lBlV0FQEKM03UE6R9T23Zfb6Juq6oR1uJpVhHAuTPVF/IyTLyJTFwpgSqAISSpHzwp8LRCydO7M16cMP5VluI77gHu9XRTgHnWlLUQnSjr5f0npFZd5zfpP7EXPHfZ76F+KNh6aQQ9cCRlXV/53V++zN8jABtHPtEV/UgsBT/QHD8/VqDXzY4lrE+oSNvlGwnk+ZuVQtVA3P1pfoqZ7iX3UsARJN4Kem0LvxgxpThCdI93RYW592Rpj6H06TpdpVSs9yPA6BPfn7z7+80wLhG0Fo+8ZhevTVrf19tgw4pVMa4JgifW7CPfOAKW10fkgkeS3ZeFmwKh9DRm/ZbncKmJPd34qDbkAYFVmDSGlTErSIh5z+2bBturBHlrcP0naW8zdqgARYIN62+P4z903T2Lh5HkEIY5ZMCW0yHukbw9yykcIY7Yp7dGPUOMhrNfed69d0KIu9mZicgUNAAUbs2m17wDIGywdVOGS/ZKY1HexxYOuBw3sVGec5n9lLuFiezSIhYwSW44PvHv47Q+sEKS15l+2J8XrNuqw9TVxQ/vEjROd2G105EbhumO+agcjGX6UpXqqagELKGT27LBeTpIX0TKs6u9DCHA/agOwZkVL9HskSmkcsg98RDJJSqepx63dx0a7DEHXeUnMg987K9h9Td2aMMYMEtCyJA5dk+UrapetPSz/C2n23EBb3uvNFcV2uw3YmyfH+IBPJefnY8gtWfa2Wy69BRQdpasaSVWCb+pVoE36HH3nXm7mImBr5lNZqQ6oJ3mQRSuYXTHOnpMf49miHRPf7PfDjE/9kuSv6MCVUp2ii6p0aZsKesYu+x9Liwhma1bn5sCVZVf+Vlv3/sn5WQ7A2vhCfTyuagsJKkSbydi+pVl+eXxE0YjAdRpgM/ofG3rTuJ+9FM7DNuWN5nIckax7AFxI33CYWCFgbYVG5LNqvd2VHDcQCg+nfFKOzyDboEfJG07o+LGc+0DnfL3rRP1ppDBp/YmAOq5bmLgPrKj9ZHLxb3S1gMdP2DIehvKhkr55JOMz7yOs/kl6pGZOxWNQxOO3XLtLdPt/TtThYdfn83+GcsASRZMyFaCFiVuW2D6iQFcus9/wweoYkX6jin6OQSS3iIEujBGn6eJybQB0wHm2h8G6cKkmI1OZyDqBaV74NRbq/ZAUXs1ucvYEgLLoq+3tRkbpZi28cTARZKDI4xOAtjWNcptZr/BX0qJDpicvNdub1udWSnKqfzftPNQW1TnGQkVvkHrxOhzpJmgJzZooZJnoch4+o86d0WMvkQqHF4LWOOvtDnZGKYHE3rqi52CCDKgIRQPKG5dTeFEeEHxYOLvnZpeA8xO9RZsLIT/xM+RjtjgGnuFTPkCfATO++Tw+LIl747k602poEFjsYREdmsB7aPKFCv2OJ6/Z/7d0HaAmgiSeXGna4ci6ucJUoGnpEtnczD5SP6x9kPitQuCyg7LrO2Qffl6KKC2xhEg7TQz1CNauLiSE9IILA4YZXO50rIxjkeOple7dop7gNSjPe36cOI3TsQzXfJrSEFUpOszmhY4ssJiKGxz4/yfVEKs942aGED3LcBBBI2XdMP8lQ5VPho8onPcWO6rx5EMNQFeHT9P5ileQPOFRJ/WYQJmeCP15h2+Dw6Aw9QiYCf74a1dx0jx6wfe2vF1CUNSBBRn+pEESNZFDivh5vKQpzpr4F9VF85tfvUBEHRYMHTDHmU/yWCFsYdoxd0xbt8BOfbwmIVYEeM6ct6yNJ1LonsqpOQsUL9G1WtNjPpwTnkeDdYrLtwi1g9rS6fNtNhOxfJHUicIMUZPn/LKtV8SJhz+xXtkd7USz2DKfnr38YIqjk7NS4oR7UrEysv6srOecSF2bdrPWXvCAbRQviO139LbctGQSFJs5hVz4TgL8ofJJkbhNAJ4XcSsMI1N1RBwjskQ1Vv1uQRMM3ZA73a4c9Dv7VEubDajle/s8vI18IQ+HYB3uhBkgAHlLqm2+w+jMUoON3G+JqjgA5uqtBNJn7Pu66dBu/KaApQhELMu6YVB/5bf19JXJxr2+1TP5CLg8hwh2EDW6ImUi8iuHSldarVcJNOlkQJUA4dqV7pfF6OKAuC1NsUivwvq2i4C0HGd2VfWudslasDQAlRVxVarnyETgJs2LzDIbhnnTlht9Lm47DiLemgQ1ipuPD6Bo64YlnXQzym1iM6nmFhwi6uBPZjn6fgShSPN17AoxBQiY+CpF0w/qTp6c8H9ki/hJ+RKnBJy/g2RgcrtPMoAg1duOR0NFsbpdlbhu20Yk/tFYsQsr8s1rDDX2/hb4zHDTXTXr4lX6I+s1EtT/uA5rVPbmydZiDNEOukfZRGBbzY0+kM1raam3+4vUDpv+0gE9/iQHNVXlO/Rws38IWrxyNqXkiVntxKK85NCagWCvt8mf9uFSoFWIG+usX/ymac7he5v+llxMYycXOm7p/vu7KA2Cl6p2OokxLWl5hz+9wYYFRNAvc7yjWB3gOcgUvVQ7MRvXCOhUL2tMWkSXi9LSc2RxnUPmcYidqQdfRt5RdH11FBvru67QHmWok9XRbvEbPI8bneDgKk85tEMfI+qh6z5UaPs/PS7jekXooC6thVvD9pbLzlILzgvfygH5CSQnizHH3yIy7Uy1S6yYudtg6/dEoAESSswRaTMbcCq1SykFqnqVBav+uY+0HD/6HJk1xtfIZ7JuDUqcJ/rQjqs9oY9DYPC+FSqhjec/TXIg13RgfYs+LYtKBxcJEntsDF5pdWyZNLaKglBf43tOWBzby7OSM1qt6YHyZ4F3cDSUxpgQrqRxB1a+Se/h+h1FoF2S5s7jtEkQS9QNQekIatQQxvh4QV5GT7QZKAhwZkpbXqIHoH9yG4qnBf8Er+Z78fjHUabRGZ4Vj7v3A/lQqV6MYe2fnoxYj9jJ3//MzDo+OTXmJJ9bJzh+8AAfj5mL3yCENxvl70jRezik9J/mBsNFpMKtZ3E3FWhS8KDr52S9FqZVBL2YU1auuzqIA5+zaDhh7YsRfCQ8Mj+UUMcJjIhqs7A0hoGoFiXwaDjrw7wgSfpi/40ZyntYpVSeyiLomFQORPST0YUN8wk6Da6b4aFCFC9lg3BOe3biGhM6FXn2jPROrnGaO4deBUGInlIWSfxgUx6QbGoKZrk238JwHPJlW9DVKRzJzozb6baC4wO4e3lFO/cr3UgrCJoJi71aAyFpk+h2AhpUle01Wrg0ds++jhBYlXiP/VK9R35B61jmIVPANmrYMk1sDFo0A7nsHrnHaA2ebSjUOddC/LORB299Ds90CB5Dnrlw/KH8qpi1sLxdSbV3HKosmsJ22rNXIOv1bUjKe9VPWSHXS0OIxE5XJ59zQNo9C8mkQGy3KbPh5P6N729x/YU5IKwEFhQt1BCdIU9WgDAwCOY1NahA9Qpo0p532DFnQA9wdM/cqfaq8GCBjtLoZE2bkaawgoVbjfJwkMWNwX7dVEJr3qlP7krHJLeyZBco82UKJBebvKunXm4yqI71wwsZIBEjW49BeMSmcIhr2Q9AisbcUf8kB2zosU5g4JWNh/z8EgEMB/ghzSsYsQDMddBLEVetEs0zWapAtlShPS9KDmKCtCYdKRJhqcskGuWfR6ec8fG/aBWLeHsk09MOHP2tLHD2zpQ96VinlOMUhuUMrJtvXdkH/YGYHBV1GoIKoS7/73ypa/vyTTV/Wl9HwRtk/wiS7u8X3BqiNBiukusKwX0PkwqCUc70pkDbz7jyd7oZHeD1eBQEW5eDDbNqsb1F8UPgaRmiODpOoRwFHrFO+k6KDs8YuZDpk1ozF7xR9sG5AkwdUugmSFLZvOuTYAh67oD1/qelAsRb4LvcHzK9xreHFEBxaPc6T9eGEo/jPQShJrbF6CSJVVNOSd1+7CxtMuNA1uRRYlRayG+1xpRnxEo+uUK8WgQTMuS1dx4m+yfKwMP+TT8ApnPaUi5Vp6d16uRUzDG6J9hS0ReoQjlh+obnM2Dw9FznfOs+Xulum8tTkkL3PK+MODSRYxc/SNNxNLWBIBHQ2W9aFp3DyMVAljcOS/v+2n/h10CB71noZyakyP7BisguNEOhIo1jyVuOZHVjear+1iAzr3CDGIp86ytH+77hFfaytyil8s9p2gJ3JJliZM6QKub4ZvzNzZC0vX2j8lhHZCOkPfXY/2RflyXlNbLmoAQ80Viml4JH1j0XntxfveKDJ1D6+aHQCb5DZLH9NbZE7CSv2LxXxXT8H79Lrd1dV3754I5Vqi31sknqxkIX5FsVP6z4z4Gk3Xr5r+0RZGexXQWXl4VdbJttXVMZNSuz0Dcac0PgEZbgcaoX44WPXUPesJMHWp465Tw9uJyYUgYy0hK8E06zcPfNMYWzjViN23MP+vMZDOr18kqflqeEn2IucLlZjoIzmXQti+OzMSKj27PcQjXWSxNzeyCq9QD1O+onnz3cMxwHdPo/TjtgQ8DJgo+byt5/8w/hp6zSNO6S0Gf9ykA6J7Tn5NroaSosH5GFB18Osck3OisKONSegSfzUDJZgpfRYNBE3s5TxF9SL5yrTS8VSun0RFM87lP9beOMlf29LStjh+t1kqehmDaVgVrE5/DxGQhp9/+za3g2OXm+t1Cpxtrl6vXg5TRWhTrHcaFjGjjjKYSS6xpke/yT2Wk2eslu3G3qGZmxpW4V77xdjfrQahJts9d7xWsLJ8FByZsf76/ILmrHarsgfB9IJF6VA6EVv87JkHa1WTrSBZkeKcx9xblYO2Fle+5/IW42s48kMc4hXArENvnDHFvJlEKYHHFUuJhJzL9dJUhmX92SypWKRlj/SX5TeyinOKxp/ijyDZLHczdpubU5KkzdOCSiz+dureuf7M9AZIvzTpodF27lg54gLDqlsmCv9Ja9GvNfl4dzi0mIb0aI2Lw/a5FeEMmn17QXsmv0qNg5vGxhxuGlQSwp/ZwiNX7pGKHG3+dvzWnxACtr1scviCaSBzJZql0hzMnFy7TOInxFOmTKjHH9LheQsiIFZVi645Z7SATKwaE2s0+r9UuwkqOyd5KWP9JhFsQMhz7itnrR7QuLa6GAB0xU2pJw886dV5vNCR2FBM8XxWPsTuOSrq+uhjNge7OgPToDEdlSZMb3SrgoFs0LQND1dKUNuS+AyEFSp4X3PE2IBfG67+vrVurJ9mY5lvwyTOvbxYqbCVsTrAvTvTdofb43BPAm+aM32ZuIGNh4vd66VAwaIJ+37GqQgk6AHYVlevfQDLmMB5fCvnlrKz2ihO1Fpi5s5/62PfK8usGbrT8aftuo3Dpsr7e6jVMFnXZ1IZyqYbUAODJJ+EKiMmsMLeOo4LReDcvuVclOU/wtl6vFNIYcqpAwt/muJBKjWCgdyhE/mo0BibC3+8BjNr7dKILbv/sbHEXl5ZeTNdc+HXqCa9gkfEiEcLWcf0YxkgjAYTaI4oH0CRNrA7zO/gPfD+tGUdWvlQQnv5xFsoCOl9whfNpXNYYL4mRCHOcHRCrzLsQWC5BpUzmd3ako1JDM6ao5yGpMhM5+hlQ5yDMYuWmRg7N5l7ZOMiHuwkChQgAn6eAogouaiOW0ZU/kBXM2+y0G/0lzGtN/0RblcEn4/ikOJ2XOjAIszdHhbBhTDfbcLzNnEdt1W2hvWt75ICIIYeSctdc7083ntVBOwg63VODaBEYQtjlxdT9tFgo7jOt83U7GDMfUijHN6DcgQX3/ovxYe8UDd+uPrPngGC3hBh+YJbHL6sErhRfsbAmvalm4NKn0qnvBKvs1l7DCWG0Eh4TTnv685W6weRNySQCMrCK3EjXFtxiqZO9wq+Ak0ZtDW+ilEqYxzV2xUjReGGfH7veCE/7HGLLhInTt4ZlU8bhi+aT9UTaUcWnFaJDET51/Oh9MRzrkHB4W6ly9XUSLfSuFn9JyA3Ry4Ff/pJEQWjfR6hVZWthCL5mVeYGnTiwpS1I4nStPiEOqTzPMgkoupUSI2zsvR5zea/dOdK52X7Y23QQisqzXgzJGbDZSzTOMiT5LuRpUZx1sskrH/ZUIdPe4WtCAr1eeKUYNpOrHKLcX8zO+Lvic/hX0fQy/OibM2YynlN/yTEbr+8prS29hLKATNLV+HbLz8tEfG+NuYZ7MgMmewoIa+gDDFWOdu7oOGd9GL3Qmo1TgEDZG1NfAFmLyHmXDfCRVWdd0pJHYsxwLerdfwUBBBlZ/oG7I/z1btFpPYtR3/czKAJZdCGX5i/hxA5s02ITxW03ZoDrrGJk8rlrFII6js2smD84lAFAPZmRQHhSdPhA/ROQ82IdTw83kVNQgsDSzHOovW41RCVTzbPpWw7cLfVwYWWTaD2XLTH7Tqa8Bpqo+Kynhp7Jg+1bVDG8/uveODWNkX75VlaIXfqwTqXwtzUsvPtoJo5bOeQTGShJc6xxTWqofQjKEhNcFucQ+P0tSZxEyh5iy79eemzD01+VhgQzdIDVM01vG9yNtdljSVLVAKatmlhwD0Kl3wmGakk4uloBTxefCSS62sWj7f9+ql+qjUhnAX8cqakvBBKugO8eF+JuPZ/Folr99aypeJqTUvxB9cGtUUJ8GBIUW0/CEaO1HdMRPpTYp9382t/Q4YaAzUIU0BaOzXVyglUmlgqnMWSyRwjRIP4CQfMs1lpUtv0OIqFXrl0QU7s8tC5WP6UpP2T07xb2rKDb00R6+qE0gLo9adNYRob5xcLX9jIZKuJeqV9bCxUThBJev8IsQBZHEN2Es8UCLv4ejBcQ+U0jJgxXUFqkR1Ze/id4ElZ5TLYKdRScQrLdkTCjM8Yrf8D/rRrGLNus0Fq/nBIZsQECqockwWWmA1lve6wkBf8Bxs3BxjK8HWDx4CULKn9DDXn3ZZ2QYM6k9RIBdpxu9jPZGmhz5FnVKeS8+Ln6baBTQeV7VBCK/3IfCQiSJhOU3+30/Y8q0Byc50Q6KwaTPgwhHR5tETy7a8F5f55t0a1bxw2LFNe9jVWv/5xVrnEC0HHLvPi/0GNbFhRxpcQsfE4dPZr2AakoGpoyi1idvvjqsAp/GXlR6QPI6XYhkS9pmltiVk8vG66aaqYl+iCzxXY3doZIm+QyMbhMk4ovMAfeu2uQWccl16nl68ynLF9e+1BAKjRYwVSuPcU2+4keiWi4Yh7Hhs+XXz8c2rcFpc79fRrfYMLLeOEE+0Cc5D2XCpvFRWBXsOz9cazNc6TMDCfaaAwOVUAbBPfvQFczJI6iQiSuCqvz8wBsdUJwAapJRCnxPI2ZJXye/n2e/+PDcUJh4vMt3VKWbJFcB6FyD7SqpYqUZLrJBa6YVvR/Pt9TkLshmfIWAH5/mlKb/nTBRPj6/fPYHeXsrSLP1VHtr6rD5e2e1YJ95Mq3U2nCj4iXR682BtwSA/n0OYahLcUqgogVDhNgVuZSyeEkE65aLwpf23szJRerIkvlHx+x0WwJt1WoIvxDRr7bK4I0Y6O8aGC8yUyhX4xrrJoGmjFNM866thZKFRb7EjB4j2WJEiOsqWMj5FL7IWMocqlaIgTGB7MBPVNqi/jDVyDihFWQ07yth+4m5USQ0PoH6uWdW58t5d0fPPGtPai5oEAJAiriOslo8Jj+38pIsvWP9ARfI26lU4kXIdp9KIEKikTQsnPhe0E5Ac2q5PNZCKdgZ1FVM/Crt4DgP0MUAQAQ5st+SAlwj4Znjv49T+coy3XuSGCcSonaAuiAdNL5ADLv5VUrjzlj7NM0VvZrORukdP1TXXJcvTsYOU0fXuwxeU4luLOaZcYS3ivcXlftm17F9JYocFI4lJ++ZcD7bw8YGjhkqn/KKXpvhXTlGgv/64wqECgHQpPvMf2UaB48F7ajChx10tLUrHJVVWAOJbOcqhFmfJ6em0scUK1laSbItN2UFoAzdt2WxErFlP1qHT+XvZubgbJhXxvcrQttaRsy6PMuzT8VCbIlUAdOvd9yWirYD/ipljoHMsKFPLV31JvkJ7pXP8bVzgfVTiSKtzIPg+bS3vALDDwWbkLmuTxomPMjUI752KR1nYGUUGdQI8WM6bFTWgP5mw4ox5iOFjety/5Mm4quC5YxALZ9+Z88eibKMY8HPfq46wgVx8qOWRRN8sHLOTi6UOsmb2lDyERH84aZNGiPNXgm80YbLQUfoNJ6AHqu4E0Ek9vZC3jVVo5ZFuimjAsjViOeDTtUoLVy+1q/IvSI136q7qdAK6RP8c+WSsGxXMFpigr4ZcCFVwE3UheOvjQJkYThO8JIuHXfkrnt+l+CBpDNRYZKhv31MDukX4LM7qvMkKoQyvjwgnIU6bR6Z8/ZKSKLdqDNWILWaAwkAJz8p7YMLLucJ//7nRfYjaLNlXbF8tYbyNKRqhjcZsbE0ZUN+PyGAB7lwgmnjl3vcpwqQ09HYr0HB14TePkrK2n5zTtwwvdeUQ+y/0A9wkKwu3twcmMnDcCR/DxvXj0OliXZe+h1Z55s/T2sLLIAdR66WxKqswJxasGJ8sK4PMIkM95uoIbz+thiyD4+wS6Cf5zNnwTd9/RQBjkCeGrIu2C+SFEJl/QcFe/YuxUz1cMMgWLoXNueBejV1yefkrXjXC9tmDTpupbXhrkFvLm6Ev36fLEEDfGSDjLOLxBGJOHsW9i69vOBIV0MJ+knvJdLqdWACVW5RRZEZWDE9v68nnOEZmEUQgE0y6iNyNNNbkFDKeMbMIbxQvCmiOWHFh8FyoZSGRjbDUx6oJU/Ep9QQeu4MuIzlDUki7iIgu4YzJ4dmfxOVtlqsuF28Kb7dn9Igc/vWDfUUU1/8EpOv/t7VtN15VPKko3eS7xhlvydem71Km4l9MUo0ARJiXRs5DdmEQqBEMWBaBT+IyeqW6k0I1d4nc80g6Aphj9aa2BmpkbGKzZl80nrcluVDhJjaPklCVfZu7PUi5wKXS5WWThlK0/ejJKMFdOobGlhKDtyaGl8oJP9M9S+i2/wjO2yoitBAFX6iq1BReCAdkuAULTywYG6QjKHVbFEf4DIWWyjwyfzen04jFRg55vXLRKy1c10rcVMI0QbU0KzuIg+0qKSNNVPiBZYEoI8zYW99LE3Bu+Ey2Pl+d57KAmt/7/F3DrTMW2TXhC7fY5jZ80LdXAoCx7qZXTZabSrT3DHLXotVQZxuU4AOzUgdEO992XAOSs0SUoeS9WAVUAqzL5GzJxStWr242qOzN2LJbpzQ2rDi8v41SSnhsJnOoihQzMJzNncTDH/PmWsYSo3Kd2qIN1QNoYZisOhPVjncsiGiKv1PTuhoWnyjMLGf7OD88mlXlnSj0IIhzb9lG806wOPOxCKpNeV4yNSNQ/QeBh9zLU5IiX2oly/NECTe2PgtIIEeZ4VsFlqqwjPiSDwXQhc/6gkkhAloh+0kNi5/j34X24+cpvS08T3gxiSQRde832TS1gzEgrPumyZ30EG8RwnC0YHztbj4MSVc5zsYGAKD7t5kNx6qXg6BPuf86Q/ZRztbtYepU/9DzPP/uGudZLYxJsZGaxkJtZpl0UKgiz7/1xny5igdLNcXmmXhHLKR7TgnzTP24XmvXVCB1gOyQly4U8XVsqhdGlhTL+92T9/gqe2mIrR78L9JkRTJP/KRCute1cIDSQd6d5SM60/zHWU5TF78DjN1iGwn3nVSwKNrNDQuxtR+H/68VxDh/NOGlrv89Um7z6WpMeyw+obUD65+YKaeJtanuAhnU1r+D21uaeQBgWZl3gUAeadhEhIVH3T89hmHVCDL5NUo0CgoLU4VxEKZCMkmJh8G9iE7/hEKtA+Y9JTD5LbMqEPWbqCbgmK8l+Cw9YJoFoGdRQYBxW/vZM5HtPe8mfuhy3XjE4OW9pNU1tTjqETPgD1tcFXHc+QCXbqJacJ6IMcLHynlbs3Mwz4kJpsdEpQdX5Kz4vnHkMBVGGj8lRtscICOBvJG5k9m152GX2sJnDdLe8z4xva6TKb+5D/S54ZW0eVgkkXO/qHZEzQ0n+5iXZl3nAZSOdDQr23ELDFGEjrDSjmeAUOwL4terp4lSRXWqGITgDUkjUhEDQ7Z+96DiGKrZXMQAol57T5JSckdvnQB/0JYkztTIiHRWQAA5ngJyX6EnIhUphxk7k3f89s5viBhtE02B/dWy5QRpa/Ey8USpp59Re5Yf59PUttjw0pxrwcP9sz7eZ76UoF6X4f2M+N4GhVg1vUpkW8qExn+wF+m44VELsihclmXFHoo+OfB+6nyrvse/qEhJAzc/mc7BzITj2f5EPu2S793W4GSDxkqMPwBwqoTDMqlVAHBzpvkYQ+Tz47snuFNHhRHc3tR4BjfdnpymOKudux08kJjmre+efCZxSMXK2q0M1zShv9/uRO1D97src1W0xGZoMtXn3KQc95aasitAAvPxW1xqjz1YvfnvHNhZa2NUiV2k1ROyioJr07kLxuQRf7dSBU4/FI4BQwtQCrGnMLujUVKgP7r4OX+kDeUagw5SdrOKwbG1kx96LVCJb3clqO78w9DYtal88U6kO+fhxPJfVLuxvoBSX+ItvE1bhODLq3gHHtVqbeUhnzfUjqkfnAc0BX2MTEA7YM0tgL5dr4MQKX1R2Zk31JbQgHfbhC/DxYvIAjD9+6UJBBoggdaV7Xv0CHMsK+wC1shxAcCVqjPEw7qZAhjR7h9TzMZeGmq2j2ub7aSH8fNS0uXPD60Q0101eQjqZp7IWi4leFWBKFYATkk/t992f/K/msCNpvRuPEZ9AR5/YfVuuCf2Z6GPY5NliR+WhdDY6DKg18Lwj2d7aVjkVb8MwVBeJPsfzayRu+GRU0Ho/zxgVEzQdUuxm1LUT4pq1FHAXoj3t33qGhJru/dY4tI5VqmwiN9uX9H/pONmoaA4ENDkmCbrXPFo4o/RLwAUXuN5GX4ojzVkw5b3bcr1WMlvncuioDLk9Q4jZacfGyiXBhUJJkKvsJWbdXTz6AwcUFEfK3ic5bAZQumT5WbAvKqql9Ewd1grhUpJ4NpETokxuDOIUJOvdGs9q9HdLbn2CRG0eD5VDXB5graht6ghCRSKJ9ts23X90y+bqy9WRstK1vjxNLFdgtREVWTJ4ElgpRDPrX5W96/Ikva+F13VBHYB3SCwaSxJVKFXHLtD+OgKBDwAln6t8pQwJd3jZaXfD8ok9kxT8B8Ump12WMNhZgP4DkJKEQWb9N0/RLnpD1ZseYb36B4Y0zYaOUQMYgFOCDLCJ+PDlZZE6BE5q+8kL+wvy1bMBkG2vHHHPjxmkywfz9E07mXXUjIcET6qw6oJRkHOpYe7XERVAuMZx0li+1Z35KpqfoBs+wxW2qYtBe55BuZotgSHv7HYCBDE1TIGU/rfX9ToRX1chfi4KWsDeTDWwOs6NwgpsWdJI3JCGlFLFUtjWX6BElTGeLfcJ7ci7hxU3rgNg07p3EzwBMHuxEqn11RjGO7dUHfKHT07qlEDJehqAc04MbrMZjPAxBUrjl+I8nf9s4hJKfcqYJgee0OPA+qA6gliu/IrKQ5g/EOGEl8pnyk7gC4V1fBscsrrxdoU8fOYQh+IoSMqd2vZ+PgvK5A/dxw4xqw8N+vS+DttJAsx9d8IPKMuXk8qfWTV4FMffliSDd92hofyiqx8j1CnNZ2D3dUNdVjCuLs/36uoNmCHu77pk42VBX6CCiDZ+5/Y+ZLBHdJUGe1RXf5+yVoZCfYnGTVlvV9XvomzwhFgJMdp1GeR5rvD/+fxsRcMLKt+amw46Csg0Mt9Hr6IaxD+nj2M9HOwb/M+xOF3aWS1TamYEEGdGvt7zoDTTz2rqTqOX9NrtjyGfkAI32//HY9JSx8HQ2jCQqk670AAkvZM+9CQEa5oeEo0pQ8/k8f2Iw85VEx9MjCM6eewRzy33KZaoBj3lDVCwRmMUvQungzNbdCHNklmFCJgnuk5EZ4IsYzKy1cBkgncjlKNk09fnvHAzKjilzTuRrfxexE0oBVnmbix7u5+9valu/rjzRHAPdt1/1I3W7uQ81W8Fm6wyCAA42+i7XKHAso7s5phAo4Z4Fd/tpn71kacBYSLn1Zlf8yDfR33rU1KoPJWPJ3spbzBCIBq4WfN6K2dj1VFx6bJLleYXZLpqMtxEan6e6xN1NNd+B6hfGJw3OtQak/Rc5HqL/1JElAShvXBuK2QvEzOADaL4mvLHooxqR/W/SQuIFbQGTaS698cRsu5EE9k6qTzbN55TazLTTpNHNDBkcGm3Vfg0i96UDPqvz9ZLL65RTMNmpUpA4cMcIlSOr7WCMiVisKa+9YUiTEaXPueTCLiuuhIUKBGtl9diCEbGfi+NWU45Kijjkk4U0Bq15hwfGqG4VDIf7hENsedPjAjf4FZzlJk47mdZTHuPLP1aqmtGM8KK4paqdFkNSv4kFTNb3H55U0tWgW00iGmGJcfj8j4kiM3H/luh9RcdJ+o+NdF7us3ozX1AJ55SjbGFYDCyFW8IhTlShJjZUaOiDEIcif356IcBZZ6wKhv4MW4AwLEf+X1e9h8+YKHJ2DbDkajBHhA4RvVduSKnSOwkSt4aBdj5YvlgVTsBw3B1ue4Sph8+Xx37rWD7UzAS3PCeZilYSwi83MZMjiiqS2lZjWXbjEllK+9reS+v6DWBYOQ4MvD2jdE39issG/WpwMV6mtiLernxuowuDjMyyrFDjnDExogqV/hS5WSTDmaZFJPUVqLVnp0Ki8k8xDavbYs2PTVoR1G35U1LyjBMWTbC4lOXxHgCIqEsn2KNxhif83hB35YskTQnIb3skvmqHcdk3yv58VdVFfkX+4oAxWxA6yLCFa0SneIli6NeJ6JQygPI34dDK6XuKXzr+F1cubeiqcSFeprOL0OeW8f3v0PmVjUHo8MKMIt1J6GRLumS2jZ3hrcg2mENSEz/PyEtl7JccMfq8YTIHOTTX5EdElOzDas4whEwMltxm9A0FERXMnkS55KB8mRwXr40MCMx3pWXyA8MTL5yKDgtRZwiUIF4QF3pbQx0bIYFYG1qi26ucSa9S17yzTQ38CWyZ//eRKiHYubMUaeu57x398KjlKuSnyIy18ONUlQFe3ereWDAIGrm9ukbWSfDUxuJgV+C8RgHwzNjjjMDIUPbYB4Oq0A0CHEAqqsC6wPtsdcmgwiW3xv8wfcdTgNxs5krQ5Xsp497vZCM/YPY/kkbvBdsYgs2en4qbur9Vogmnd+BV6xLSAXA8PGwLHXvz+byf2dRTyZ/Inw4q4tki+JjAF5DOU4w0bPRgv36+XTxCbw5Xs8R+9azf/Dx0jUx5pi8rT5TJV4NUwY0wTup1pPI3O98jguYdDV+tyfnC3G7erx8uw51p0OSK88x7NRAGK0bnUntplzYi0fSA/NjEY1XWIMvXT1f52FHi4rtZApPn4LfjRYETe2tiuz6u5w+ZrEHgHLR+NQR1zsOFhR+NliqW9E61tehV29VZcXwT4jCEu/9Nn0PPF/g8V+fNyrKl54VKl/8kmL4YnEeMCjM7nLK8rlKgT9s35j2Y1R9MT7TERRz6Z8mtiik7WEQJverjhLz04wvNzujfE1MWrWgun7ErQyik+IrLdm9qEjwBgF//0ZaqOfCqhi0txskKqqSOS9DG00eio9H/pilG0MeeuMyC+fZ0qy/5BykZcVt7s2zIAm/MuU4DBDRsevvg623LDb1YOxRufeHzRgmFmfjiQDWYoo7QE9ao+fqYEHZrCu0Q4UKvtV2/ZTOhjulB+AhkPZ0+cZF/UOfHKI4+ysVol3o5m/6GcibwlrOivIprTssL0oIypkvi9j4a3+zxw0wvEpli2/79k8x5kpIeriGo4nmR/YFpUMQqTS0oBv7APGfT/g6FtKbfO9y8ntE/ROAaxiaNkGDaYQt1ayY71PjBqJX9UoZPcJXH/dAPh02RS5nUeuxqkXsS/wxkvbyCHgdW4WZHnoNbltokJi1bBXW8WOQljexO3uFmr/Spp1OTg0935D0wh0sgc8+Ml+5ThREvfNg2Sj1u9I9jK+VHI3V8tc3p7VehKGi6MlbDOxWr4YFBC98xOZV2tCjSt5tZ4RSIvMjddUMkCqks7zjJIVNGUJXIcBmr54rQr15diY/v6Sx1x/EgzdsaAoeYy+0KW/dtSUq6Sbqit0BWUmKnlhz6TR+h3/F3JIByAvM8bKMehG+R6Gt/ii/FYt/F9T+5C019kyBhmwAWiCs/Xt6qqR/5soWyvKXoWx6J3OGSL8YUam+w6maNHjL1FtjbN9npttC2hgWtQF81/1G6+tklf0HcQ1nZfDx0eQaLkEF8R8zaX0fHPq+lSgV/pFugE6RThgyI7lq+LBf94gfjBROkxz6E1IR3d06sYW28X8QSU6FgwexxLAxQ9+H7RyQAgpvGHh5BmfSrXs3ypuhmhgV/lqaoXfvZzdFZK+PH5vg32tlaTWnRDhOIcBLlmj0UqNvX5D28Q6jgVo9FId42K0iE4R90Q2KQQcMFhJs6cXGAj6zi66zsAGZeSyn2rkdcpTa6S/Ve3HWZEsq01gXWbWwLZSxsvBbUCzBMu1dKkpYOSmKQeBSZjfBnEy/C3nTkmT95mAWBU4Eg5DAfkiuS3v00n9nyD9UKA37bO5RRft1+NaEFUJMRlyqQXCCpJMgS2wvaKrk3opaxM56U23oUbUVzriFGWYSEuKBvbS0w3ukET1frQQNj1C0yF5qwcL1VvSyQofhndrcO3IdvMHrXb46yqE5+QUbkJfAu2Fx7dWaXPaNSegKWHKXnWpeCrSYfsRGBs73FskLjvt3YxlonRBaZCJXAKtRHtB5aoDWyXybcq+tma/B7FiYzvi2pqncrx+DW9BiBZHZ1iwSSmLndDZAp/kd+yJUIjNIbEzBJ0ginrIrH29u/lbzI9srELOsRIuFlJXw9vzW8BZcC7C4ZkMTBy5G8E3Sw8yLM8JP2Lr8qH5JMU6ukkh48yC744GHRjs59OGNfNmg8RTW1r00BRix6gnTwc5958l41HK2KCFvLOx9Avov0AFInSf1MkoP2givsdQ4JZbnqyJ24dLTI2nzb0FmMRpIE0ZFcCp88If4mzObgp7xD+3KcWD90NLHGARaM+UvvFJuVVgAq+GyJAAJEDgJhVXgqQOVjkbR+nQoC7+9CKx5xMjb0LQFHqLKOdintRondCya6trvYAfSowlKMwz65zq1j+v7nGbDnQ9RiRbiadLltQ3n2jzlRxMTDe8UEP3mUc7Q9YrFKDPrHgk9vXy79KGK2x1OwfjR8LzT0IcQx1lKDGwmcmxHTMEmgzwI1PUHNfzur0o4CUN7LvF4pbIyEo5yYmMZj/d2enx747LEkAu7iI8vlH8SKQ5yEGAKuxjrInjHrBBq42YIe7IWL3e1SeiA9O5LNwYyB+0x2WCNFOJy8o9XUq0b/gJSk0Y64hIGhePL0yY1iJprfdvCSsfDPA7fVTRC7GsPuNGuDN+U8p5sGQLTQsmFIXQoeOctXxFK5EspXIzaIR5CCk1aMet663XQFdyj5McHED7LfSF4iNqHep84FktOZrMoIFp26Udbd8dai5D8FHKbCIpIgZxUStZg9hXPygZwslnqEAJbMY7w9TapiRnsHhDlRuEnWVzgskcae/4XZ/HNAmzaEeNJsVjgrUKVB0UE+4r9kamNfO5hxLAkkOA4UzK+B+spk/RsPlbV/35JJien0V45XEU7DrNt9EHbLApAjNIdiKxMXu/6kivo+UbBUeZoljnXzzLSH05ZAxpm4F3Trgee0zyiNHryjPVbWmL/HncqY9bZVwm59AmsqnlA0Y16hSm1U7WP4srZHgr5XlpbGvf063KWaMad4/wJRl37E0xV81OCpitaMeqKlnE4a87RDlUApJ+Z21szma8VBZtNXSRfF2USelU7G4Eo1xtnD+IR0tnXrOy1WL7LpQ1g6pQG6KzpDdP1ghj4EX+qgXlRn6sNownsU8TahCYPD1s6cr1bUTYRQQSW8OM5+sUgZxUry766F/IjA1/O1cliEeYYiJpPLVan8aKdOeR7wtb/kX4nLqvsf4ZtFb1k7uXMXiTvxc4WAIvKt/72pErLaxZi3coQkp8/ZMLsfv7RwIYYuME26HrLmRMU8hzawZ9dde5yq1q3y1CHjcaD1dHFXxqehSUJgnhN9JXGerWDQqEijnt9tTJ8soB7mz57Uz4awhULlDw6wGBvi6a0SqrU3RRgKYpg9Vupp1peVFI3keqQQrJR4bu+aBpDMjsLHQ10ABUgTYdPPJNKgQyml+S4ya8B5PaFXkdcCEyobaL57p2zlWWB0VfuDdeBGk+rW/rguvVqTBC6hCDPBPmFelA+1NEq7FYXxI4/4Jd+IeefpQFj4s7f79pjRykadCNCXJfY7OBQ4QEOjzakZVYOuDe8HEKn4uYRFaHLiS6DNbtBk1IvGO8YEArqAlDiTdkW1o9q2LfF34EsHqwbjU9PSEmaVh5fxOHkB1Bt5sJpALq1ueB/oqL4W4T1rtxi5DKUWnpUAnNEUVapkDEXfRigqv4AfYgEcocWMgvAjZIXDkxdKCDC5OphfhiCmbaMlIOfkstUvpqQehyJNXLojvnTpjJXB2Qflss/xsg/NhgKqF0wCxP3SyOlcRlfJdMwVvuy3T/kegHnA0+Zrfd1L3LwZUp/KljeWWR2jNrr0uWqoOVTeYUq7nJuJYVD+MiW6oa9DbqK8ul11un5ycoPkIl6PVhs0Gbu+MnaxS6pmRuBZqJKaYGM8xIZYxdhHEjyNujKUojVVhDcEm1oPPBCEUtjo5hEQNaSHix5bTZ+3lri97nM+0pLBjG+TY29SwcaWIT/KTNcoIWUQUnPf3+EEcwkoDm5A/vX8R0WXetO6LSBg5WjKd4w6cQNW4xqzX5cImn6nOxLwJxGrW6uDC+lLNOZP0gozNzKg+isroGXOy/aCCxz/WsM/ONapPloU1TQsO88XQY/WyQ8/BZjybopc9LYfdDd1WpFPYiqOEACO9zMWWkg9u5RmpRi/I7/7kOTOdAGOS9Rx6kGyVXyo8qmetFgKM/ylkDDKuTqujfC6aSyNMsiJaX98ugcFHFC6jz59SY6HVl92CE8EQWIBw1blJzBXsq3FsfbqhZU2PfRmg8UGIq9dk6LmH0AaRA7Md1ZHMOV+Mmqct3Yf8h3T1JZSJh9V45wHe/6vjLFGKLFFO0l0Dvett7844v2WonMbwqUg/Ry1ELilqO0s6lcU6x/0H/CmyGFubyPip4moiJ11FjHy9lKeRb+E0B5jiZS2Pi88JmUlbAPM15KRLtxmyon1mJ8hzIpXIDxPHy37gMApny8t061Lj2MdJr6mlrlF84dH0agxr64bLQRlcR0wcG0gHn5OSI+azt+4YcYV2QZ+HLXyYPBv4dZ8oIuIC38aAJVUj+nJPRhwdBXCWAjh1qOdFaShMv1dX68u3QKCxDcFcYC3gnJYvZv6tSUBbedw7eRDYZNy5GOMSSNjk3RyZAFFvezdDO0n/ZQoNtJudeLz1MmLJzDOmiRWWyFgF9CD+bDoui3p+QDB8zq8eP03Gvovxv8DZn76iVl20gnA94w8jYDUze1zwlMT1A5ddvT0je3xAhOBzeB7BDbndd1WZPd/KrZg8MFdvbfR4GfR3s56v97cofZCTedQvobh/ot3qn/M9ulXvX8dgeXMkLteuSwcUUgrkOwjz9xEi0OrUTnVDlF4cMYfaDlb3ytyOD6vCiBj0i9f0Tf8PwJAeeOtSyezvh5yMMsQDfzkGeRCfTKVxxmXkYLLcVBbFxS/GnshajxEVcJ6hSVjahvqcwDjUpwTsHUoGNXaseRzMb0gPbH34ogHIAWMcE6d+bWhLs+UxzpDaVZ1ETltWk502bncMeWoIwyMboWhp8A2OTMMeOH3sWB3D5ffvfVvA6M58Oyqg5B7+feJwojDrR7kDBKnI6rPlM/VjvUkIrUoyEWKMwLrmDS1CmzHlDZn2P2EV+qixrUkCWkC25FWTQQpAosi/VK8G2i/jk8U9NuNpETAUCSgen+3Lu0cri4j1gLYYa2G7iMfW70aBsq3Zf3LIO1oROMWI9ewZ916LqH/2PgzMBvyAUnLrEcjGtsLulzHWSgNgBy/+mZHDzofS8TkcUaaKVLNtxAVv4lhAX3jN0/BjRcb6fyC/mrHM2asfh1rcx+SzIJ+NQvAwGEKTY7H/ziPAse9z7JzsyfgzkyhvAn1JJLf4KKxLgzQz9HBugujH/B2loj5fY/SsIHkFpjphr7UA//aWnnFgsMD1NZX5BbV38yBvgJyEf5ysaaGxwnm7MHM3XJkEdnsFhpOWApvinA0jje/Y1K4CwDn87oOqkVnzoaEOc6g9s4fmMkm5mwjIbRac1Tz4ZtY6HR054LLi/SuRKZ1iarCWTfvo2W4nS58419e1Rd2cnT4PbnWylaAEJ4T0Rbbcg4KChiUJmhReHPVCc0rL/lzMU7u5cwOI9e2R7bhH/OmEDq0UO35crrMszzWhrAprdFjbWun1saJqu460dL6gOMmDFXe++0RLdibpVVrWEnCa1RghIJv7rlJkailvA+coeivwl5f9JHi5KzMlOxNMvxguTJOcKMeq9bJwAMXfkM88FBR4n+Bho4EuvzzKg+iHVDEoPCgeSAml+20+dgQ8BtlQdnECOlCdwwx3y/m/B5pJXLHwlIqvbTyi+EDWkwHOan32gFHlDRdEFmYYZlIZft5AMvlhZJe0crtsxsniaMNhr0BYE/31GPbVU6uDptko36bBd3eKXd1xjEQ1EYAQEOoHQYQ/FsrteyXdtk04X6rVL0YxB6tdpIl4Q9fO8xYPN0piq7y5np7qE3GtlVmn1hGShON0MjjvO3opPcLSY/J7yz6m/qARFuGojFUslykyM7d53JUkuCqQNhDqPCcZSFqSaK0eCkWRjXlK3hlY3xwkgTFmMrjAibrVokQhGv0sTsxxf2tpDZD8gcvUAmifFEnyAUgkvG7uZXc0We93ikGsBqjyzDRQMRQ/FHPaexMMh3pEEbyonwPwPuQbIC7JKk4o7HdGiUsABXeHlc8EBXuuV4WvrT/TmjtHzg2OEzfxLGkZ30inPqQn31TkJFe+fvKccBc6m/uiXWvc6LKnWD7MCdc4dM/cVBNYYd1y/QjDZYoNKXMPKkvPCnHYyb0XRKfvH3xEIwdShs6mjkgtUP2dD7unKkcN1mSyZwiBLATN2ctWLJnBUm7KiH8gP4UUT1aq1myFc0ZEz4u7cxCwj9noPSDdLjSQ/FhHSHQ207gOpch6h7m7WDpsCcZxmi1nlS0Mqy+1eSNnI5T0yGHCRopn+w39ECdjULwoj0tnCFGOXlBT2LM76fJiWa+9NFi00U6iVJ950rmeIl+UalhZbIfs8svW6kiVv/tbkO3ggpQ1iVK+2KsePTci47HYuA9OA0OBCwQNkEc29QM0nGk9bcTXxpCEvkttbwyTDAfy5ZFstcwB19upGfKtUXgHEyvUPyPm+WOyJRkmgo0WcD2lKQafaq08NPDAtGA/sWpCeZSw1P3Tb5N5AZVMdfZqMghJsA7s6OLn66AjACLo/SBVZ2GsKOqmWuKUAS0KW+oeYHkQU2NGs57HXtiu5aAkRHFSdrDdVtLdsriZF+bu5Y08acTnCZ24SveqP+tHa/T8y+mgv2WOybMxICmwI0+jGqKw5hJpG6EPxzaWs1eratngjm+7fRCZ17aNkVuUAfww+1B30MzgnYjygi47XcckpomcOM0taP8D9UT+7SbeWFHfugyWpsJ1KaOIyYiWEZ7pv009l+DSoy1DbFLUzlg7PCB2ddZO6InwHTrd5JhV58387PlZKm3inuaeoMYHDZTk5zIOlajqqoaqDh3jNHonfsPqYrwc5WGxpkw1ES0V0YkjgLzIP6zuxIhQyjT0Q4rhMko8b4fRjYU9KZp3pR6jypnHdxIZxKDmVnkVMQEmlP66IynlSSFpgV4sTjE8iwOKeT7pCCdwJjabKeGD5/SAebvHExLAfH2LMshsUa9xpVjWCRFG2mHEjsVgU13KgJWBxM6sZQbUrW6QciJKn80X4HqB+M3HrNIx6ye/rqerfnyVS5VuSDQ21j5kM2ERc38tIE6WucDJCZAFkJOEXlh+QOV73q2PJ3qyd/9L1p/ry9Jh22CwT3v1oE37DJAd8L9p632S3XLCvBGdl+y3ma6tqmcfbC0BgAQFwPhkqvvCyLmSlwlOx72gJztNWlPz1cc9VVf8PGVCtIBpjI7iNwJ2nX2PvZ6gKq5u3VMbnEBQBOXEMjG1vA8zQKx7hX971A4QgVOh8j6YubCCZoCG0JeU11dVldT7w9ZniLsHF/bzw4AFNWXk6raGxMqRstvNr//IV/SQDKpR5mG6A88YjdoIiOuLdEVrcok2w47i57k+cNUQoXB2CcCJcFCuxzGwVaXK5p8A4069u6o6M+eXzajep/OhIqTxyCEBt/EbNxcYrEfI7SJloqpGsxNECpin42v0UP7L8XZkS/g5aVcScYaWw17XyOGkXXViE8Jlptci9rHqALHh/6+6brwpg4p58oeF/HrHFaoIuNiX6k3xvralHGe4mDuoxBJ/Prq7NKLnFOwq4Bmr0dKdzVgp2+Gjl0/F+0rbiBbNQJ44Ml4/0mQ/XNIGnw9FF4co0ph9VL0iBOeHQs68cfMofjz7/uF8r7bc1+Yvd4h708RbrchzKlHF2brKDP1YLpngQc84GoVqdx3vBEtv8hiSLpFsieIQl+ZcFvDH+YPUEYP01y31ZgptRxiMB6+FeyHHZa1KWNjQVAipuhi5ZjE+VpsZLLMjg8gp8bEYBYBAarXzpAB5DI/8BRQqIHqURWvj5gc7ojippc7l9xvJBptqqt9ji0Mx3HZFgsIgMBEs4m3ajNLRNfi15NWusoLysuJHCUDO426svxclNAlBYZUZWIrFB5NdMTKjEVRvAVxEvAxOATovTifTI+2dJssooS0YJDHpCaBiyPtOApcrbEBf1mNQvOf2XPnOOtMjDw8WWXtuXg+bDPygETWWfCBC0riLOWovaVbodQ66JyFVGZ/kWtK8Tr6Bjc46a6F0jo0X0aTlqz27qlDx9ZwSvo/ZV/d5jphCQM5st9akBsW/17SImOqv1R54KYVYvqUR2rNR7HhTTnL6Ma26GZDUShhhtxMsIjbB88oN9T8wMvS8F3RRxCQHdBZBhfO4CYzAsJdaBotxMX6ej4EBwTr09ZYTrq1xe9cq3XRE2J+MOS4bkVhigze5sGY8rAkSFW/SzjMZu9OTk27uXzQrTsrUJIW/rD3zwvnPES5wFw/NqQZOl4saEUtJXh7625vJeN8zVnkXtNGzuR+4EqqnsmTHMKfi9F5lLILp3ry/F0FFcUTdtMDGPv+0D+/h4i9fX827DnLqW7DqLnTbfv/IOuJ36DH1VNjroMdYfC4K7ffs2n0OrQF77LHBE8/hIdDFkaKsKN4hTc+AEVuPjD1qznTOU2t05f65vzjoeF8zzsWLITjC1Lv6RJ4HCdoZHxHnHZWpN4vr7cgDEwXxELAHWOY/VQEj9xoqEd8F4hIue+o5fFtdBg+YASXZP5bEXMNgaAI1IhZi2XwxZh4XZMjuTbX9CvOEkyvOP9t3xO35+77Qgc3dHKBUCn3YQoL6E3Bg8iS3UJdXcAtEIVTsWSrPonjeLPIH6JQ0i2nufwcgW23UmL68fwentAb9VzvI6GvXp8pxKuu31zqqQ14N0qfjHEJJHwGGjtezNFoiq6giHwUTaRu2KapSB7U2b+Vg//oDPjys1NhMkljoyXFikspbx9oDU7IvmaLUBJ5fh33uQFvSANiGOeVTE/ccGlu16HMRArXZCXF9+Yws/A0gQgZvTFl9SGZuhkji4U/gN+I3gvDvc2eyxYpDSo3X0vbKjqjBWShzbBOqHzj8KUl5iMWtaGyx7UbtArQwPWJOc0w+cYdmgah+ZfGb1U5C8QqhKEa9GfHuF1n+5P9BnB1RrxCoNk7A7AAdNHfuFJXjz6m1Hj9r1hJkWtnc8sCKaB8oVDnJqaREkeX2Kh0yqSAeJryOc6eXEBrE++T3bP2w4kfNIl/MxLqA1Nh72Um6rtUEOJPQOYydnud4W/ogyikhzxdAZbyp95rhm59A/snVAApDtGrCsWUlIQE98tNAP0xYnriGQPsk1cQ1udvTLCL97FSSY+qrucHhwDVPe1vYlu1IM4J9TDOLf5pyoMdPIhcIjveREqKsU/BYSxnChbPsAUkD5z+oNfKCcV3hiP+mJw+rLQffg3YWogFPzNCquk2psAYWRLCDKOD61wht+khRItAHUBrXJzXLB5z5dwa8XGSCOAzi7fEB3FqfpOyhZY4UKFj6ktUCGHA4iixv4Vv5g8jRx6aYxyB7NVolqW+lE3KgOxCe3xUR7X2prbXthV9VXadpHJSTOlHFXiyC4GV57Z6+fNBTOAgkW7zB6vG5WG8cmQgEj/7lO8AewF+Zq4uKg3mY4z3nFjRAQKzvJqJne0NVhssxqik/JmgytneRhkemU/5EiNksNNDXbAAtAlAUnT8QcQcfokgmFk7rr48C+HsB4Js2DSu54c64aGdLXCS+azf9Nh6G45kc8BCnPGrfisRbRGhSVKGXVpt5bgdPAP79Sqe5FcNf+FkvYENOOUXZB/95ElG2GQ0glHX9xI4I4Rdpp1GIFoVHjZZxRFB71/puIfVsrqufBvhtCsLkc7GwZhlvkkvTOEqk3oAVSm18NBW33heVhuN4sdsBi753VoSU3Chi1nKXr2tcKWYoSem5OlCxZB4nMNj0uH0sVJp+cldfSEk6c34U8q99JuQ+E/wPqITBmE1drza91RWV9IjKmOaAh4lAHcEBAcAYGcAb462RuxvIki4itWEbpA8WGzDC10j92a84rCn0iraGSpL2+PM5ddIldLgoP198ZUqGblKFsEO9NGRP+vXOEga74LCqIJpKK5z51/jWp0C0tL6oOUoMjcWXpZ4CNlBeKDD+o1hwhMnOKM757q84OvyELNCn8KY2pO2XbYH93BVLNgiiv9lW6WYB83cmOJaQyElNLDhJglWgVhS+GtiqkGrtffNbXU8fYbBuh1rGMWgqM6e7LTIvtPmihCJh5fhOa0cbLi3J0E6cdD9WWE5lLU2XkcHkNZDShJ/oRd8S7/V8u3Ehp3pKR20dL6O/spDu6CgTiPf1fDcPINMxmm57i4NxijnjvOs3rnjvteEcF1t/WcoDKtehRxmFewnP6EaAz7uRtljGVDnvHASjmVczx8ckITsPvvFyGpUIJQ8DpI/UnkUblBScPSxL9uYhPWhHzB6VJPARpH+pN74oZikozm/P9QRC6k8Ap30m6iBBwkzh89scdYLp/Dlf5IsyL/JC81tt3ff6e0nZ6hxkqzBPu6ZJ2vKgw/t76SYa5FAGQjP4GNC3slvX0M+OQl3YHhX7FmEZJV4Wn5aFyKutuzj6vXaTKSlSv5tO2YDXJsvL7LM3McLtEId122Rd8Wh8c8QPgKFYRCIeX3bGC761tLCQKy8RMDfqHUBQOmoFxk6DUW0UtjJGbmlWmtzr9aFGwFTuwt1QC4gv4R13GRs3mpPmCutoEe7NVwXRjwGs22mPFFUY4rJG2yT3zQtLUvw8eGNo9MEDyum/b+9666iDmugJe93j62tD5ftqZvVz9rcsVrJ4eeJEU52Xq4hOc98mEGwzj7o4cKe1Q8x/ZXPJUE3ibddkvTerF5Yk8aa0s8NXEAv0ebBeiDwGSD0v8jX5FvWJv6ajQkMAkioiQqU3739DAcy4Il5UWxqwBJ4dKx2Rl6lIXiHS6tF+0YPiGqyW0wO1KlZ1NWo5PzepwskTRB4N1umLaMxeVWe2k1m4hANvy1MBwdjuCfXHNMO2lvvVakFTPC8UHqtI8A3rBM6/pkj+0//MKwyCx5j1RE7fz6IXRbmH3q5/77gn/qDqTAsiDFzcLYuqQ4d0M5vzX29SHvkc9ruQtBp+seRM35rpkYopDb6egUUk9UaNNeurYqWXerXo+sCze7TDa9bA2gjFXx3mxMPBv1+H3s4TbcFywtERrdwwGx3kKwLPv5FVQHiuFteJI/7xfqUTNoFM7RJXCVw5nZlHzKWueml/67LuuesnaNoZ8bHJ8/PPWgb7PAKzaUq94Ys4D8f8JbXI1QOfc0bLlaq3FGv1kG9R3EBvviWGWPPWf1vOtt8w+tUjd94e3UluvUdNuupTYr7M2x69mYhqO7YZaDH4oFK1zbozEdl2wknDPcrCWcZsmHU4Lo6WtOa9fz7WP4ADQ8LB0kxKodlpw1oHg/w+XtLHLfjAaOyZXaRFtpomn9XiuuNWfgl7W0dHKPVA9O0+xTGIWfMqcSqt+nMyexwwEtGO8p+Du8pHQ8hYCjCp4DnRd6aZz2tgYlcTDmRlNMEQz0KScrT/wBuZetgzLj+cQnTO8765cQ+UEjoXzG+KengmyZdxlIMN569efrttelguikykpTVDcG/tkImASPT6E9eJ44UXFu+tahOe4s7NVR0tD7K+Pz2rb+pP9nPo4790hkeKJj63cmTF9e9v0P+gFC2df8tbbNP/DTJGgJuE3x9LlAtmlhdUOMee/ncPPBNceHdCFm5KeJj939FL1+qHn+ZkuuUJvgV5P4EWdx5n9ZaYoLAnMbF511V70Ufm0P5Gfx+lMXhSObVZ/rjZm3PkfvmxTBBhUfpe7JhGl4tOyyI1pe/nGnNPE/w4hivoHAPSqbywwq77xCyVtFghw8b5g1xS9cVB7ZZUP2Xjx9rDJeGxAupRk8W3rxz7vkYkG7wDCgbA6Lpo6JvIROcv7QERJzNHt9jOAifbnkE0lqwS5BL9He8jQPxkCmrnu5aBWQaAnuaaHjY3kkcILWPH91sFj60DkTsE0OHTEx/02t0TRFriZYmMyYSwWHWLFbeDgDszW8M06MojTI70067xfwC08ISir0kOajproh5lVm9fRs6z6Ki0EvF6tbZj6YBQBgvx1CRPg4KaKkuUV9UFHvpHdvrjwVOhRmRl38JJzHhZv4hYMhXL1LbIka5g85NxfSLrMqC9xguhD4swUN0V6zGtG4HFaY7AaqB0fPZlGm64Pnjs7/JSwCvckusCf8lQcPAo69EI4M9wQPXnzWo4c3OL3FD0JAGw3NheBehuSMOIytmO1sgzGImehrwBPma/+SN9I4Mxqfj6uYoA4MVQa4xVCsiY+ic64wo+u0tdBIia0Q/K9Q8YXQ/vI0iZ/ZNC7kInjQYB/0Rtj6MCzLOOuefm9CQod0q1YlI4RfSagDXtKzV5WYkn+jvlcPC4L84BPpnmwQlQ6OCpqS+gBI5L9q4ifRQp8IXMZ5GDCIZUYL6B7mAsWb04X8HXFGvQOL3+ZmL16uiZQJN2OCC+vUoprG7SOGaxLQyFP+KqolqeU3gpitVXyrLPmpN3Et4yAlu3Jth/K+A/4xx0uBJkUC4vIggtGxHSG85IN8RswcVV7cG2Qk2zXySipDpcPIBpK2o0OIxzrXtvdCO4s/BHBEYftwO2DfyCgPBCRVJavQTH87u/CbyiWe/8OyzmQkueWm7C+ztRs6YScdubKfz9lx3rduun8+imTse9hETbz08Ztf1ffUts+3RoAMVpn67pKe0zdKGoSUZdXTxZnwBCWmRic6orLZ24J46vF5b3LesCzn9Bz3CGOvbJlQ/CKng+AWa54wPqmzdw9ABHvdACSZ/SSaexMswOKvgiRKER9ov7/lwbRTPhh/0pK2uYfP2nElt7csK3BgqMBAIihsXTdo8+gIE4T92Abh4aoPO7rdYIqNovG0utKbH0gmjk7QPdbsbXLBFoyZJ76tEgFfo0CmsT8Q55KNEGnBXXdHtw/LosUxAo4/gyUWTRnQh3FYz5LhbFMm8CX+qgtUhUBmLB8broYV4052tdlBZH7V3iKmJ8y+W+UppmtsRiOUNLD5gmShZLhSV7ONvaCpM9fcomlgNygNF3hzfF8hu7vEFjPJsYVb+CNKr91x1Ch1jeRMq8WJshyfdcEshDlGNlh7EHBPkHUAzhtX2K8x8QlO+p+edVuB/DFL/FmYniQSfSbRGMI6rGSWm0pF/WpSqJvI0DxVhl+RJ9FRZlw9ApHLEObpOulS8VKJl2Qn+cxuQv24bKlsDiLxeyUYmhz9QPmyLRGTw2gME4Ionba7mFbgF4w5KRk2eh8OHdSQlYBzLR5EqZQEHS7YPWQZQA+ga6aetzRKsPC8MvM/1Hd0rBjUPdqsbiBQnEWPg7j1su1I9E44mmneuJgiIrNB21X3olI7xNZi9rOJda251wXNfsNXyW32consNc5kvzfeCRjH1H3LembRNfQYLiCyLn3gnKpxYHtHlhpsGZu35aIxP9Bp1uZJWBeGJRg5yL6eK3TEwgzQWmy/QmjKo7CumDnQgm5WT3RiG8kf1Xx8QIonQLBcJbwiCrvv1Fz/zeIhbQPiLJSVV7wJWHlJTJL7WdWLofq5ve0RTW0C/fLckS3Aj78DMsy//ZYDuQKm/XlQIkME4DbtjNZlmsqIOEt5khSpztyCz6goPXT0yxZjBFf8Y5SmHQdr4pMCwWWpo0vqYaueBwouJBFSK+K1fNFZ0ypKKtBL+T6qQ6vk2nL1aShGMmYtkZ/Sw6At0gEsLsFRkNg4hblyR09MePHMPPf9m8lqetzbj8SWbGkAFGi3VKoybjSYbn5JBSPYyIgJYbu4nzypFYo1xvwI4FUz/HzHeRGl/aRwgiFxJHgvez7qKHkB2wV7JCLzilaX6+Beq6eEi9T5ic4sfhifL6kbIqrCaUNuVQwRhMIGyObsjdGdr6hIVuFVKxQji53WN/g7fx0Q+Qi4NJnHq79Wpqyk8knFJG3ZGfrlZD/glJ52rgcJmdSh1DFPPt7gaTaresVMIDQj5OkrWQY/WAIsWKUCCpaFD60n+6Ph4YepV85jR799lpJkOo2MG/p/7O7KD2mazjbGLQw+7MzgDiNG/kahRYHbZJufIibpu0IeBPp7UunkAXpDf1aIpBmP0Mvsr5TmSsYIc/84DEQRSUhNrcuQDGwtmd4ZGxjnep5LGe94ACJLh2Yr297/0C1inMUqAH/eJ84Zlm+XgvU9WUelvMHshxQTqLOP2GvtN7zrwbJ+FBttdf5vtKNY8n3qc1Uc29Es89sjZarsgUQj9MeLAn1n5YLWT7MHna6mZCMaYKhijq93DBg9pmuJw9EQNKUJmBKpll4GatoFJFaWwd6PfGefNiaAMsxMNwhPcgVUITzupfRt9U0lECyZHfyuM0uD0fi92Kqm7WPTnFdumtk6Hqj3h3EqIedpDJPpM+4tXlKXqv8osN4M0i+EMInzQfPlkFpJ+mUWlXe0hgG8L6yC4YcKPYn0b0jRvQFlwpf5MO3tHyWxzF6RNG/gPEQsyqhSG9j8a8vvjTJcJ2Y4xTMklR03cSzykiKVjS1DgEeghWzP4BhxVJmwLi5ZFNEhh5NuHuU1G8nlZNnErMrejLLc7b6g74UL+zuH3IIIu658YsW3cGrsg0VEIM2CffpPHdSU08UpJv7d4881W+P0FMImWDQ8bVaBdUgIx1Yo+PQJyWSDoDg9njkreOiq/L/OyGUTBC2UqaX4PYiWs0sX1iyVH0+WpADM3IqOOMq6YxC0rrTAbLzvxGzE/GjZn5WJVrzFf4bEeyHJpRIdYf71vzjitIuphAtQtmWY25Vvpa092QaTkh+/G+5Z/MEIHSJWGQ2WMs7V7k8C/0g9zEcVums9rNrrw8AUuYMbWAJI0GeUJJYtHMp+/cPLF2R2Qe2UjBam1XkAhKw+vDd7inX4UzwuuZ+kGgPP9D2bZNX9fdHm5wq9PqXowaNkckiTK5JeqK1sL1aoXHrUsd0ntqowzFYQ7i19w/rvosv5Zcr0XGy2Eet9CSPrJO+d2VapQXdlh7c/16sgQ5ccaTwigaJCWDKxzlVt+e1LFiikzPJQH0zrIqW2VxYgX3+cPo0I4PQCuMe+KBhX0/bxcPkd0lunmLhGia6so6t6iSYtYj6VJbVNu4ixDIH4lG5V60yuHUi8aZDXzQyLGqx9osIWVJ4nfiTDQbeFsAFgxTf7r6MAZ9M11agzCEy07JYnJBnQc3NUPVTVKoXO8ZGB+CINHJXyreIQO2bcpt1aEqETiClh8fntFoBJ4aXETKpS0+HaaepuD+iMdnBkkSPaVmE62e5QzG5t3D3RAWaGix2tdy0IkKlVI+apx8JEqXK8C0i+5iYtG0WvwK/Fss01vBaMTtQzcIMbk0QDgZbQUDLOmNlBSobk1h67RozdBC0YbGlAI5756sOG69yG9U6osoYL3LQhaT8hq833M7f78q/Xz43SMa8iXlTxFjCv/FchU9kNZK7yUlYBZAoyhni/V6n6fDo+lMFG89CWK0rhk9HzcVgOJCdrnSYctTHkwgTSStk2fDYRRL3G47CiS1a/L6yFfEfNpnzm8qC66TvG50C2j7Vk66c2q7Xylt5TuwX4ecxi63yLFBHYnl9xAAg7DtBwW9cvndst9VkB4d4oMcfa7j2vedwNQSJLfuzGBYNqqFTfxHjcCQaH2XHl2VHNPuWAkxVcZWXREo1S/t+IfbjqFU9U372frky7CreOMJABgbmRANOeGI5RhfNfakZYW1UPp3qm+pyrdHWDU7qF4MPVPq8XR+0AvmqTStXuViNKf/HgXkxRtbCna6Z50xpS7+3yD9JiP8TadAntjxc7aUAwOlwT8fBMjQMZWiBW7piyWHgqkKXT5+ZBfgcW5bSThguy17lrOHwCu1RVGo1TocojaisKb4Fyk9HZjIPhJL54ujr2nFkiaVi3pykTu8Fj5LT4GQp2N8poFZX+2oghmQxP7xD8KyM4I5ZOUBmSg5wEepAm+ZtHYx1ppCPFXb4Vy1WfoujHvl++3VxN+RAD4rxxANyF0aoUB/zQ4uS0zVY0Kboye++eBqea941UdMVg6/LC+PO58X6tmeZg82sIKdqwodrRo4i8xzRwGNqCOF5Ozgwpv2ekiXvgW4XPVGjY0m3g4tpiBHd/ZCD5GEVA0O2L3Or/veRwhHIJPi3OF9oeK8/Awlo4UEId2hkvm5Pq5lXYNAGBCqdiepUypomZ5PdAnd+msbk3skxu2n4k+6DYfsgIh7InTe9WZhUqThUCSEdxnUFelkLLbrpptRDjQ37LBtaJpAxOMMVkRTim12DZ0bnbf+PpfQZlvdXguOMisQt0D+w7cIAoZnxNZTpov8c7v31XYU1Y8JETf0uiPXvmCvKMY91FoF2G963/l7DGoPJFDGOTZNafx5JWo5SFUH5WL3qgWyV9DxS3F2cs0jCvHc7dcX5k+9rBJWSgyn5dGv5JmTgzDk0lVEO4rIdJ3ky//VjEFXO0ZmMje7ROwfBXSJiShNrzOQ/lbT71AC7Ii8MFcGXVR7sAaSrq1FSTVtWry1micX/SrFeSFef3C1SQMiNnNsBtcsEw0/BhrGXc1GVEFTus7dMRxU3b7ZaUOBlCLtblN4A4ND8tOQFZ13RqPI8OdcuwGb/YhkiGWqdEfESHNK9/NTudwES7vU73YAedyZnsc3MIs22PiWhSc+Qcn+sadIxXdVW1vxu3djg+/tw5edM4Vd5ecosv+jUAQ3Z4GeBntiVrzdfLH2jpgMjcsO01ukuCv1/fLDsUCnKF1utLMR5GUbIMl0Bl8pgaxjmb7A3XlMKjRDQ7xvVntjOoI0ff8oEfk1Yt/CkZ6q10t5nbodv0ERjhEL0ukkYogygYgN0txkh5DCuAR4zubi1njLwsQp98nNabfwcQM7NobcKvTLibEO8SchptKV8nwlQmtpuxt/rU2gfPeEAAya4d6uvx67kapxYTOLcCyrLAGCQ3HhJCyAs8BUNTMVzni9d8vaqo6BiIySP2r/SNPRw4MJz3+xngsmsoWCDi2waJ+De0ceVBrqFJz21nxbK1rX2cMRZbMcVPMsK3mnszVL5BKcAGDnnc3lRjV16GbM3Ahb3PLLqZqea0CLtLA4HM4LXFIzrNDwaTedgIiLdzvTfCpjvGa9iIpFo3U/i+5hGzUZneQqwDcg+qWSUZLRZBc2bJLWRJocKlWV41tx2Q+hXnVLZkRDULYs4xYw5Fkklxm3hZZR9OgmjiiUN5p5JoBrOozZv+6nIu8UXFjm6sa8mNtoadQrweIHINBKgCBiZ7TrBQ8yjgyYKa7+nQynfqAtVQvN6gPTbBi0TwxhRqwa+32nI+pDGTYB2AJdGMJbl+qEOY6+IY1jNE5nCfXD2WLBlzF7dUf1nylJHnw3zvTG10sjJdooo9Wm49fHIAjsvhzLx+NqwOqutwQRn7awhTZMnn/OEG3f/fZhnOAB6U8oqWWdrneDPcZLVP3fyIe8d5EcSELC4vjgPz11Dg71S5A165wm7BYm6W8cp9nCNg86tzXkuoO6wsUXehzCVgadYpcxeBn0DtktPAS2qlAzs0DEqSqI1+PpNFyPzaSzhIpsDBQy0mDzUBjK9iuXVSxak0L+M/DwWrWcm2ju9QajnB9McziQQyZZGwySOvaPoV/23CCuAliNV0ErsrIBDFp6HZP4HXvJWiNs+Jo0WENATxG4PbqLVRDEdfOTD63XEaDxOv+5EBAFYTRn3n2E/lywk3xA3zZmZ9GebAtO1dkDeKvPOUDx9CqFKTpQvN1uzr8XhHqQRSRAyDfUGSa8oUoVVZjJk/8PgHqrwQ9tYftjbJvPyNNTDpli9EA/ANUfZk36Bot92hOTo61A3HkoGLWh77rUS2IMk9eWwvY+hGjLFCm7erGX9jl406Uq01TnkIqbj3T9Dzlwv4ghdhy9J1TPq62ucjEgwZa/rZ4NhsVzX5HI906/B8P9EkfBdsp5/fA113J47f6SBR9bNouxFledM4AnFQ9vFXbnKD9EFLraDV4PMRf95nd6si2y4Bc96I9/7Y8ougpSCu07qicVapjI1wUgRfTJx8kyMUg0F4HyIjRLYGqBOrxTib8X6wXcEUpGCsAJm72u72nNW7+2IDZPqA9Xthbvpg5+9Vh9mnF8mMYvQHu7PWVcYVdEJfZpHzrtzcWt5eCxFUUCg+UZmilGulfH7MEHB6aVdHo41vECQ4lSKJhiv9EBXrBRjKXOmhVcCFurjIvB8lyK+LDgAHh8vqnhF065UW76fJDnnA/IcSHQhNVX3MPKUE9tpniFCOtYEYSbIvEOdbL9OpZl/ghS85oZeXuRQP2Jy5I60Msx08jLm2SirmHG9jXClBmsdc3OrjEY5RdYZxQUR5v5G3U1hQQylZxvMj9fYe9N9/pLvQAygdZ9BGkq3XaPNivHcdYxgrBb0pZgl5UR6ok5LWpJY55l/f3uV+vVgvhGFvKvoR27gB8DrRU20cmjMfaxkBeX8Eatkglmk+ge0PTcjy3kiu/jBDdmP7OKA6mi0yq1z6xIS3AVYf3QgZwhnOH8aXQZM0oyGLkpiNKaSO1Qf+izu2teIdJjRQOjVMRzwt/mGrSvSThdJ0zA5FUh2wJhfOhxwTJcrSlPwl747bK+cVo5gRi6YqdWSaCsiKcCAfVUsW/Y2PWOAnHtgDslgYrHxOm3DXYrmKc2rlYuDm2PV+p4zABh9Zv0piOaUpd8uNks5XRwVvl2YbRqU+6kPZZ1IOP698IQdHCi0Yz+meIZpw82aAayJaBvkzfhyRh681jVp5SyAlu1s8kUmSgD7jf489MzWP/gVadm3njf6jg4XuLSojkVAxxAb9oYzF4WsZUzy0AdARar290IGyGKqzOlGoDEqXmULyY2ze+DeKJsUjOWtGwr0K0yBAA//jLWk/nPDscnbPCgSIYVu4kaCajUQ6MpoNI3SvgXdm0Si26OHbsJSHdy702gxwddhfiCvfLk1x9Z4w3h4wxHSqxbgxQUlOAiH6pq+lcUrOAiv1WIJSFfiaPfbStbYVAe31jjCKr5AUGmS1qG+7w0vXrGsI95tQtzDk17vSpY0zGYhmy3QCch/eUlvshKtqXqayk1Rvo5T9WiQEcC8Dcmjp7zCSZAMU/PL+KQqryCepn0Tt+CyGPpoh9xhsmASubG/9MssfAiKZ59leK4CRNtxi11J+Qtn2jUe4mTm/ROJwypr74hEQkyVFmxgZQtYJPsSo5BxeQH/hTBeR4LY2wIasF6PvCDifQvZpaa4Ia+kDJqYNN6DlpSbVGgYLkNUVYJ7IKgtMI3nwf5yV+JOppZQRWVHlv2s2aUh9rlKeJl6rQtiWTaXEoT+v4hraAescqI6w3YFI+x5Y/iMvrjDFIBO+eXOE61oxBOtRsBRLNGLCRG/opUL6RksR0blLaPfrNyxlTCymF4RLRgsWe6IHGYnr8W9rZlmxy5ZERKKmIxE/uxm5W6UUss2qEjpxuyi/CQt4IqRgE6s6rAtJsh7uv5+s5RuwtOpKH2gZpYJGX5ux6N3RN8xkKtro8HSC0Xf616iZIgnruJTY0ZOfK5aWwnH0o8dnm8U7fvS4eJHOjZGpKsM/lMYiE4+VnzEoFrK8NaECxLXxPO4ROlhtmlWNiqpeL8P/Sd0RTly3D0WNHIWTQkFT+CM844nmSGUyuYmmzVlXEDWhNkQ0QkTaUqjRFsNem16UoGj8IS6bBULcm38xIYCpyx4LDUd+OcTPu1+iHP52LOU9tT2hYQXwoVtO2qkulzOxUH1Ii7HUA6ZPuWeQop9wFv+QWUcniIY9Cwv6ISzc1a/or6uYNA+XDW4nYzg5I1B7w/A4H5/p1AEkwtCNYqK99v8+8tVgEVku06aI4p6tx4gXc3KpwUMymfWlSRVqZS1ShT8ktbwRLesaIY17HvIUuYG6iadrUCndbEUnRTt3tymAs9BzAZlFI8AoR5p1ZRuxqO8ITB2u6E8JVcETZ7RYxA1ykfd5tHg+q0zQbY/zsPkXqS/LsiXtD0StWiDmdusBiVbOKeNsGZYbVy0XFgH9xJlxEyd7Rw+6sQ0EYfGTcWQpo86Zpxl+s1egcCTmmtzDpgOYLo6MBcmoScxFA0QyoR2DKFIn3lnuXFomaA2QDPYOmvAT4qQJOf1FPeH1/dJrzFwiAFHs/EN/7H1X5xBC5ObFxmsrVCWIQ+mvv/bgokLTBKad8QJXav5FECSvjTodCdbSAIT08VP7vVTxb0aUwZiV/VONxz6r3q2L3GZcWig7qHUvBTLCzIrUEpXFWIpR1tncH6Amj80vI/Lh0GpR8p3xo4vbvQ+I++gWU3O+Hv7MR2JICNYLQRZZ79LqEqypTakp3ZVOiTtPHzO/MS/xITMeU0VcKsqPinBQSTf2RoZcvq+OpZhzueQHeRHh44W5GTAyI9VskLwjMkAtg9a9PjJOTeAAMICnsKZYbwMRgmACP+klzGSfkGb3T17M6D9VOEgbrMS3wEGtBHjqN3tecDH/gFhyTmuytiUdeL26M6rgD/0CdyVmq5VL3DCtgc/hvEhb1fpeqztthqDBIRfEaOGVIalOgCA79TM+LHga88dMRbJGudZEVcxiQxyTX/anHZRcOBxSX8lUMtkX3ZcSGK/aispDScYXp+Gj8y2WxN9xFZYmBcCc12dHJf0J9IhRi4PrZb8I7fApZWFMH5DplMi7MPZI5RLLc+4FU2UbENVJ7KG5NhAZ/djUkh/fGFRzIMitGN+ntkTZi3zlArMGp6P6GRmpQHGo93hrqhEqMYMfH+vWZGJqk6LUsrlTxPPSDFA7WCaGMkoZe+QvVYlY/enzs8LpwH2QKc0wC7DgwSlDU7D4wh803CdSg26WlAD0f8r9+4ZtrXaWFnbVncTUtF2YtbN297zGz+IT0Qzwp69d3PhPNUnKFDlPJX4pY4SzOqhPsdAcBBQFyolDJkwLBtRGhdfqyOsQj/r9DguHOIqXozq/mQzp1LOWlbNJVpEPJWHyyPqwFFdYA7hj01D16fm4jwHJzhEjjC8OZvkHhkc4qFlfFPjqNZ8yQltUcQfgBP93P9aiPozdXJInx2e/DzpBfC8vaLeyDTyru/nDiJFjtOdo3dfUeuvfpR8VxLNnjTPxoEYQotLK/cz6yPus7Zv+teN8Ra2a4P72m4Zf80vrStF9uaFW9Cn7zVRrHxPS79geArh4M6dS29YYWK+F10v479nz2/XNUsBDfYNlQeRoWXNnThJQ4e52uYSSlaR66CK3hfQU8wevoZtmewCfxMo/XN/rDabDTscfSmH7cCSWXHZz6a/OSlPT+1t1Tp7YiWJ6sjnn/DNEqYD0lNu5U3VlTIZKbgVS9ATIabVjMQQvTGD+4IQXyMv+irOXAF+sQ+QVYy6tIwbB/XGGhq0HwZ1IWHuuQ2G3TmAlWbbieqc/vYxZhk13AJEbqigLyG4tSO/LnexEC+m4BASLQ6KlR2jwH2UQTt7aIPCuVCcATVIucR0X82a54aefI4wh+edhw5UdQUx71twmXWxjuRb/w0UbvEnPO4Oz5QkFG/834mcw6UXBaaj7iWHPzOENr5E+PFgVJzQHZeG9h1EJf5ESTykexkK6J3WcmQY5Sdek4F8Ej4bOeBpw27MAMMc0RonRHkEnObezVc3+NUE31dd0OwR7T8CDisbGtD7581qGXtMl8Pp9LOaCxpkGSBdKFiWcRgONOeCTgwDg1d5FNHqmVVvJ6LybYzHmcgw3agGcHs59gLUvdjSpxGR/IRyi3V10e79URECyXZ7gTvfpr8bKZ9RpIq7anGc5afYmhefTDClP5NXPcZ1kcydszWIgULCpqoIVVxhvw5BFf0haAVf69/FLZ/Fa6FAr0UQHcMtXson9EyOLZmGGvMnUBI8YGU11oI/zoQs9R5eEQGMIN0xKhhKvCVQK61V9eK00PXStWwyp6SgsY6Nzpn2Da5L8L7DALm2lbzYfA53rW21N/oYEhYH+2qpNcTCyV3epvXUyITRQjBA7lyENQFL2FuHv5C/3V+fTR7galb8m2JO4kUBLhODKRz978RXzipKS8YzaVp3r5GNvJUnNK9O/+RhLSKrFXbQIj7HcNBLOON6hcjBePkd0UoRYyqB0GN7Grnshh1rVqHjSi0bm57w9vNazF3d2AU/WHX1CUF15np+D8mdgFsJfosJDjZT2huxupGKDT8cG1dGQzXK0N+i0FJ3wsdKJgTHk0EFkX1AEg+kXq3Qp7REHjlUbEtwBe7j7nEzny7km68lHb/yRofG0GknG6pdsD9qI0j6/o6Ig23rLrpfyEaMQWrAcPCTyeMLgkZsmDA+BIgTU8ueS1KgMoktQtFP8y926YGasbh9KODOU/fFKwPchs+RZe9FGcdKCEIkRpbnjd5B1jm5vnSD3xNMVKo22FZ3nlchVABgaYGJCnFDBk7Jz5C5K3l1+YUcSg6s2arZHRo4t0h5Bd+tNPBIo1HMvK278xz74Zg1GEmfpAGm6w1fQbdecybHU/ePdAB3d4OxyurQRGWiN6toFY3bg4l3VkjnK4YbMeo3IX7Soq6zeehL0BgKLEnBRHsdV04UdYGQxGgLna96AuWED8bkZVWXs4f15J/bgayggjDJc6YKx+KOXyEOyhrcrzAZ1wAdXKDb/TPA7IIcuRdjCG6W2BakuCAZjUabEFGkbMJ3twpy2Fm33+M1zmgojBXRjt6KNkZTxesfJuz8iD57VdN62kXpULvcMRwxX8LJBT0COJGR4bb5Mq6dlrU/Dpcg9mU/iCXV0K8oGSPejjq6nnHv+6eenEt1jjSVcnTuxXKRqQefwvjymWGdBycJe8V/+tv9cq6Rtz/lvifAV4FMe0ll+dPscyqsuNtmLOH9W21B15GV26LbybYg0GtRLunTD2mykdQNpn3GtoEcxSwGsq1rA3hhR4SBmri2UhAWr+Uuq2sYt0yb4KDOWXR/uB3xr5wvZYhanqB89f41Daavhz9Tvu7bVZQ6dsa9Vp5S54+K7dnr/sL4Db5VGOBte/XmnWNDlRLwglWCOCyNFzm2FBmFHksNjwJveWtY/uYta6r1b2wjcb3aRFX0Qua1stNSB//eOD4Cf/Prx5grmiYvub1nIxoFUAObvcQPsQo5a00OrCgHYNHXSpSCBN5GcAi9+g7as1WfhKSTIEk3q+LTuG9mM6alVlHZPepxgKWyXyypNuCVoy8NPdAVFCDBkwCfqMwwygCCr52xUYRwVdkAlsoMEhAkr64MpWCCKG8tRznw2QKOvm+9749qJSj4VLcL5JviVkKj5VVnSnVqRIPPj/aaSszSymTOnvRwl+HPly2Upfk/lVY+4s0GPyf1pd+1bqBU3TztNXxglZy+655/tjOSkWhdE/500xZzPlGLe8fm0e+wycxL60R8m8myXTVYmzM9jg9ftb4t/ak8sY6Uj5/u3WjNBx5D55VfsdzOsAzJBbafQ3HZ1bjB7Btd9lAdg3KGvtF5PhDzqy6UTW/d9pmruo4HiuoAoFoA0TIkKaxXj+fKviAaszc8lLFtN+y2+eTFV1adV4YKSgcL8ppfJl0PfTZFDC7DLgpasYzCPAnSS88tb8c04qyT3TwAq4S27q8rUZOQ1CuEgAzUr0qLTz6TYpDv+lYi8C0Bi0bCmXD87CJ/zeNQxXf1UeGXpjeg3ZDzIRle2ssXV6HhIAaAnX0W+wVAm6G2BeLNfBmU80/G1Ejwz0DRFAqDiReo0qdsPFRQf/UcoR2nqnGNunVKHAelb84TjUdNNJiNKCIoA35VmW6ZbVCFIZLEO8M3JjBlUhqMmMD7pgBvyM1m0m48awD3JXeBFaGLDMjWzWo2r6cyYysB2Ibtz95b8M2JvK8DEMzPAvq19H+QzEkV4D4fHWnmXDeph2y4vWGsWWjyS1OEML6waLP7Zz1RsuoSMSgWW5rcRPQ9lJI/6Ws5oqb9Ehhd9PTtdg+vaOcl1GGKlS5jeRaT+TkmnUlcWj1MOly9dVIsU7Y/tgteMaI9M0njVb9cS7t1U+NE1FhCAsDawBbddyBlgIoDwJbEqEMOciOHDkVdlyXJFsiRSzwLfqhntR6fvUbgIe43kr5DSZWeyKSqGOI8dGb/XaHvVhtZlmEw1mYkpv9mBZ7aFgoD23yM8bysRh6Z9QK4HbJfByoTDwqelCuBCmwXhmgedDye6DgDZyAwgjieqMSjZgEpCEktozlHblAkA0UCHeleWZDMzHDKvKvwd5Qy9fuKDkZtdd+joYy9rW8R3ylCiYuekylcXeuqmAgxtFc3BvH0dYlU5bPPJW9LwNhUBg09CGu2a/vifj2wwnl4lmT/1I6HcyOg5X8jLRo6qkZaspD/uKNhoO/oHO8ZuVfVU9/gBhRU9PNvVARgLiTAY20natdtHLAMpFA7RckammvKLZZ8uBuFi04NiusbavUFt9IeGCGZE4KR50X7H3FvqdcrnhP7vf+PJA1CKI2rBsy/XA3TPyhUZwY8QEnSv1rNancJZCaUh+L/UlWVH/BgFPxqW0UQZQNu3SxA4ZI1/Mew8WT1rNN1RlK4z4C4rcTF6T69BkPT54sVR1BZHjiUZO5FDLx4Z9CNHMRSZ/rF1D8VLJEY54vtUfjRiis57NfpeJlHd9fzARUIAkqSx5duD9jGR7Cmaysv5Oo5+dPwvSr+tS0uKLQbbaDWfHYlebHUFYdfaA8wd07Be8P4+2Tt/ev2vC3sABu0Q1P7RkTSaUaXsPaf2KZ5LupzI1O6Ui5APZmMPi6v7rP3Hs+79aOxIE/ciXTDUR/NdLeI5+FFlr83ZLyYalPv50Xtd2bHaLrzdfR7kd1PDdhy4PCLIy0pPsuPth2STRdhtMK45Zhmf2s5uVO86g8UU1dejaD4DnhhALyIQKemFNZOwGJ0WaisRhhJIlRADUV2TzDwj74lSgV1mU9GFxjLKnwVGJVxb7s/8aS4MllhjzLXFvuz0gjcGr3h/4WfhlJv4HwiYn3ciwhLcX/EU6DSVxkdWLgCpG9m0mirWZ2drG7aSP5owJe+C3E1Okdm2nH/PxLiOUfv8aJpYy9vnAidCSBINZPnnQBOb9wFO89rTDXvWb24QJrVHMm/PQ0D2DrylifGQXIg7pwJmzvFg9O7HKqp0wfAkO6tMdO4C//CxhoAIV3jf4qdkzthPNbAIZnIVJ+Gju/XO83FWKSbj9PIyMIk2E3zeqTLxtb07T2wQgT2AE/9fOUoMp2DBHkbP9efLRn93e1c920YQIh6pZP0rpRPpr+8dOhruX8A3bDOQqw+HdwiyWQMImzQJeobpwP1vcfC4Lb4wQ4dNU0xfZUVwy/Ylr0wXciRKGA/ccEyEs4Ll7Otna+XX603tsYRE7dA2fJLnNh+MUwGGC9EYysWIyWAa3dCrYos7cOdrfq4nnCn+kuiX7M93P1L4Ll3IaeM34ailq4ngIxQgibWFRXspUChp1pareh9E6qMpRn0WFEiCzG09F00hpck/Y8Q6DG7ACjiRlZG8qUySsY8rugVptzI/1rd34D1Gr2tOnZmU5dImsAymfpOcJpWLdkbKqihMVCuFbvjQIMTg0XLUEQjUA/tRkUrdbiA3r4yH+dNnY3xhLAElabh9lyq9eimsq6mgrVQpye9cpuNmpeHInTZ5SxAo0Uw28C6APgFGlsh81hxlvxi4r1z4iE0IVBsn5LL56wGg22lqEHg8HmlrMeAxIYp4TeiTZBqaZCc2mh4nkPmh8tIISmOa2ZhdDV7w/FdsrtDg/xPT6QdRxgWfz3F/jbX/4/FVVhNhUzkj/SiARMd4ds1v+m+uULuYwGXI00PGNv947fGMEpNgXv+BvhEiZM80gXwfVpE382s/xCWwjgfJrlRC8NVnmolnTBP7N/b7LKtN5M2OelGjX0A8nqSUMO2sFgQBuqZMrmPGj0m+0+HA2Wm56ppNQiSuFC6UfQzpFnzZJLAd2fBaRKXttWHbk6u36hsVYvUog7rm7ylkYE5yaOdpuP7qqfqeuWrBNyjoAWWeR5SAIP1AMmId213KfVISpzImn/DyzoIfzdoCV3ekPTMfw6p6LlkytXzKfL2hmNxP6qrMltzFN40OzNN4dbaQPGGrtYaKXIhmjKTskfqhfnlQgHoKrh4SkjQeDQBxlWI4NrOEZoHwIK3f19cz5W4vr5KUKHNwHX1w+eqIf7/T5A+nvZRl52oZarVdY4yuF88GEDaMUsmIBzchDTMFT1PWGWrw4CDiG3yzFH3W2wtDWDZGdyPfkUtihEn5iDmp5lB1ryG3BmhiS348qITZnLaHA0Buc/k1SJIdmv34Cql5FG9xQBw6h+GcX93fpcQAOQ79ksjPhzdxUNk/n2zpgY6NnJ+Y+GzpId+zIfRykjTEvEmgMC81acUOrFfCJxjuBeTnVQ1oRu74wMwTisadfe7UrlptRK4rx9STELyrCVwxtovlW5gbmCYFb9rOljTG+/XKaGKNi0zx9U6NxVJN2L0EboEkGzUwJ3vNj9piR2pSCm+Dx48z3U/QUp+NqTOSOyZs/46f9TKk77N3oLn04eu/UAWkNwUBAhbr7OkAD+SMnaDzhif8TUnRaNgiB3Wuo/RXbXcbfHbQBNRFm/J2sKUZ4QGqxx+JhkppW3WoEav8A7QGpI3gfQ2XsD/pJ09xQBeVTcaspDB7So8O4NCBi4KHI5TWE4hYhbM0aHIaHLGNB+QAb1rUZLkCZiJb28gmocvgXomLWvMkPEiLLUZVcFvroMbfObnY1ORVCYhX1NyumIaWpCS2tzUgmjDFlMRCdaHY/XXr1ykRgBag+3Viczs7KnbKZdmIohdsrSwqRzzZPKPeDoATRYVh+xIMth/NW2atg468cCuM="/>
  <p:tag name="MEKKOXMLTAG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qGj9ORi/EaBjXhptmFcMDJT+q9GXA6qm+Mbi6vxTAUD2XUGt4SbUMuWJ9vlduointcwMlprPMCK3tY3BhXlvQw/eAa5IY0GFa+GjdLIRChI9Yt+JXyXkn5S3+QdDQYg+Qe7+csNq6R8KnZSFzsLz0m9/IBUcXxycFGNZINoUYTU2Q4RTTS0pMCZTRJmvsxo6VwhV152Y4eoGp85aVhP3rT7O7dvQuU/Y9nwDhhBznJYglnMaIXr7VALUJ2GPMoGhYYaxDnPbtT9/dHYbL093I5nK+UmQ4z+nQdTnzQCVXYFNIUkrY1U2p5sf8Xec6JH+XFX/o3ty+4/+aO8lpZNHh7UJpvJ10DrHuBSUED5wbiFfzw9GIbvDYU0Vtd0R+d+sDJdfx/ryEIy/UelCZFlG3XouMd6t+9KWjU5zx1Kkk+Tq1sHprwy84Uh9YS4qMyW+tHw/vpWBdqacriXseicP17G8/mX1lT+fk1pLucU48U3K7aoQ+iCVeoYxZtFs3Lcj9DgLaN95BQY8uLhM1yYwr6qea9L3A1Qtu0y1hkqHHQ6WOKUbUmJE8YogbPZl9lzFGSm9nBNcr80pLiLiIYKsbxdBZ4GmYmIEnjSa7TW/scz4Oh0JNbZg8Of8V3Z6xrKMQ10iSuvNs+ByYMKo1bxOkKKPiIHaFexqRTTqJbPPOA0f6xlHXo4FC1H7BLbdwjkJnEIlv8pgaACy6/q9/1ZAxFsTCUhbztACcVs9bijA5lGTNRWBfWHtZai/4si5znVgGLYsLX2cEpfMZk6Of5ttRNXCjzIy281sE8ecBFd5oXU6Ls2/zdi0pc1Fh3xR1sCjZ9Nn91hYl8QFYyo16hkoryE72DawZhx8ksK5URfVvaOt9QXx9Hs/YMlrFlkJnQ6+yCD91hYGIDmJ6c3mxAcvCX2qcqA4gVId1gz2mXX8DZ/fzO8ep6g/l2GEyAhb46zHGJEXLaZvqMuuwalsieKFKrPVmWi2lCH+jhLeYgyDt97GYNyl96r1x3ji0JST/HIx6JY1Mj/f1qs/3I+ylW6OTvVahrd1GQi2tQM4XfRpeu8XjfxqAwo8S6W8knIcRAHCzxH9bMtb0TiF239lF59M49MZcT8QonBOhdUlUTFs7Swd1yffLDXO2o1FORnfmnxp7FrLyvXFHA4aAtG4cx2efDSmv+v4fsF9mbBGcA/aAjtwEmJ8QPPJyKMqnEjjhIKWXCCDPpYjI2ozl7UmqBtsREYH8m0sZ2Avcf8gYu5XGRJL9TCWphIhSTdI/exKKBLT+abdx1+QR5OehSFZFlNyLqEsbf+vgdRjDfaj3vYPqRgAaINPdl388yWY3Sjp3Kv4jjmS+QwR9xy38yOnD5H70BPg6Z2Qv7cNOEca3C+2R4ogm105WU0bHokl+e/E8mRGd5WjyL88g5ENWgpaqOT39jdqdV6UnP0Okiac/iv6fdVYurbAt99Q1sDTjwwKwLzzwSg4BpJzKXWkUOvqNo6ZpS/OKzegTYTSM3kud3XXwl7UzI6w1moaEteRVlaMROzsapF8/KNAu8oOybQfoIcYnoFlxudaxQoIKW11xNgrHb1JLPbxBk40A9xfzct1ssSSsq6B624g1ASHsQ9o+QpMi+HdsjfSAnI4/Wa+j81vVcRiPwsUZgL218zBX0P0LfAJGvg1oFiCfZRXTQJUnLBCcodDcECF5qOH7aWbVBt6hAViIMugHrwl6WBfTeU4lJHF8rxSZLoYNkCx5OY12L0HfWy2nfBvqQ3wzaXwrhNKmrlJYOA9Dtyd7YC1Vjl7wxGQb8YpblyOIouNS1lrZdJGEhfhvbAXNIs4GtUUMeQFi/K+LjKngF3oLU2i0miIkksO3LuutNIg5arIssbW1dV3OJ5G2zp6V1VsVkvc88jvB3rgnaA1LqhtcbJcREi27RS3i46I/xAMgwmApOEESccsB1bZnwfiOmIbJXpN9P1QdNoIhh6BWtDo6Q7d8A68HydsQqYjxm99fT2txpF900EEMU7Y/pZ/a7LxBWPLaDLF1ZdHtvzb6a04FOZTRqJOwsvvIr/F0qqplOKsYeI3vvKlVOCMxVGQNWwbLzl9dbpr8gcSZTLD7fRI83hQggA1OBjhmsKkL0a1HTH1ANJButQ+vYW52B93F1rTbjWU34FG9sk3BeY9EAsdiyZtNA/PrIExL3+ZzBYPzOWl2VXOS5kTaM5pSPye5etbzaN/dupdrbPwC7HLGhtogfbBuV2DptetoESWt2g6wn//Grx7NTihSwg7sfLNHsGb/mrL+fQqeaYMXVv34E5HVUJNTJqOmBXf+hgt6uCtH30x5pVYxRnTcLN/xXTqLU8IQHt/y8c7lPxR0YLwttj71m9/sJmoJthHqxM9B/rSLz456Rq2svByGcAGR3MtK9qFF+j140AiBxAtOUHQvIU79s4wEZjjHr4UFbubz+czLZormEDLCbB9hmDCbi8hn47aYwL5YSPkWrTqllsOLvh4EBxL5e+fSMjZrgYv05ZR4lLC1IE/TQuatW5gOHdHbXmCRZMTAXPXIuwuTE5zQBXLGv/S9sUq9OSX7Mgw/1WhYDkJg7z865wJ5fCG3hRGAs7CCjWG+lRV239qMyTI3YODYZFp3TDI28D4YFEXpBZGIg3On5RuA+7fDstLNhL2r/RATy//6YggCIs7nD5djhsGu0uKC3r1y1D+qb5ZLHKmAPbQrKQV5xZ5AlihDQ8xVrgaQ4e6pz8td4Z5mAIueRb4nAvNVvoaBnMsUS+9vIqbyh5lH0v7VUjc73qr2sJq7by9PXcJDox/rUWi6RBBYPF0Z/pKMhhpj6nyZ1mYlp/7++AODKGCH7zacYWotfI3f5iWzPh33JKsbsCbP9F/cElnF/sd3WgRZVoGCDg6H5dQRYXpjUY2CZ/S3Yf9R54P9VfurLTmJFaN/+54RFCUHgDHqAPFCoZa5dhitC94wc5L2J0VRnDg7suomInyCzR+zL4XcpEHF9qkQ8ub9ODlSCf9CpmATpM6qkZ0JBerjjPjWlGoaWYxLRqRqCN8QACfIG/w+82rTC5L4+Ioguor4SkGlgTdh+shtz2pkSjeFjH0mUwnakeLlLDtu/cwTFEguTJc6prvmhx5gj/jwzRkXINuVCD24DqwS9Fa7qK7eW4chWxjc+JEbFYl+Vj7/1RZkis9Kh4AW5Mvtrc2P54hOii3uvbGQjtQO+cWqjZNbFW+khqtEcQ2klSDixPpDKRsUxzvw27MFyv8gk0aNFbJxCYSkHPsHfIYXS/Fh29rJ0N+lKuv8mo/jMKi3lJGXxehrornQ0MsOPPhwElta3ZarQfA1Wcf5ADwNtdTmTYPgloIulWkXQoRDx7uilVM4M437arxLUj4VsnmS6n7BNnhZsScfqbOBawgzYlrW+hOV904KqAsSfZmLGpCN92fMIezyvx6NyZCFcqOn58kSdaF0V5caJdNgxR6ICEsBth4ENX86ogOrBhsak2nNV4IN8IOXucbNee1sBzDrLcAuJoXdORuFUkGd8tt5PpeBB+qbU0tIML/m5rRgvEpIF7jaoiZiQkepqkzF2jeH6lOeDy+M8Sok5KytEr+eQX8UioQZHG9j9MMQoVqwgCWVnNBLaLlHca0qaTphP35Wv0Vlvs+HJrnqixcpPN6TNqC/xmoJ9wbuenlGdRI6Ena6IYdSQLg0RWhQnMuMGYsqFpT71usWfWx3vhM66jWCS1ok/Solrri4+CfJaOdk+ZbDD569DsmBrtNuQOmew3HqiOqp+9RoMgfFOP+DtLvmSX6ZgF6gvg7qOl6f0xt1PnoJi46RlSKt8Pm9+fx3Edh7oUnLjs+7QRxSbG7kCTmSyieoSHYdCofVre+YRpNsZaYKd1s3TV42DhYQ/3MYH2NdJlZxoE/6b7ujt2VREMg/W234LFtCqtauxI8hpc/XW22PUvT7GzLF/s5GhWFU109XOFR7HDr5DlUPZlumZjNxJu30La+VIkGlPJqKrphv8pp9AG/03F7NPuwDX6P+Fpn5HO9sIlqO7ftdURyIZ69h4TXoCBx7eJbBUE/WmGcXM825cv3gng0O+IDn2iI2Ikq+7PANMTsgRCyVEcg03qH605itVUGuVFI07/Dc7Mq8tniJdmQPNyM5eJLKSQ9A22Ibq+hwVmKM3rf9g1qiIuFxffkZ6jxY/HmJvrnp1NOXjtVxbui8bVGOZserG+RbXcDG8TT4w1sZkmsF7ZEXx39A2pSLBQI34jSQwpnQxo/XQG0yQT3r97CHMz5KZYt4/YewHPKW4fwwYlYypBESypJlsd3RwAEmscQovjfakyyJrBajWex6oFGTTlMPB0Ubqdk+14+gACENq91jjVL6hOy1WVE/DFn5rbCW1qNcIO/PR8pfhHSAdlBPh3rPMmgBcuCksBlQt7JXpZx4zsQxoclW4NOl2rFIxtQj+t8qpBB+gfRnfXpFDNKeVkGUgtDHSkd4zkbqPjvNX5P0/Q6XqEc+M3DNotMhECm4qTB+CW+dCR8be0oYhmvllJIGdcUqWKQQN1Ctuv9w0Z7R7te9W9qsVt8H5YDNX+qOqIhoy7FEasvmfNPplssfAZG0hCGuBfEeuzeHNNaqcxtJ9HNPBZhbpRb+cXYbWPOLmTULp8tz6Mr7WiL1b6zKnPlvAnkKLn760Fy4r2JszQQizJlxQ7dwvin7mQphxpGGr59koOpUmI2Uta7ikLC0UpLapjQjBbRfA2KTxdJwwH0ZcjWcunV8UqqmjvZ8+5AK0YJ5iFzpAP+kXanYn9yjS48nQ8FP5SyIMRqct7W2q0uxwU9l2a0W3LqUO73gEcOSxnmvm1V4tzT3kX2+FWu49Vw20QrzwfAIi3vAZdxLpETD1bqfaRJDgJAMlRbicWcxHo01ddSDcSLk9B/4B2yBcNRZZtmnG9mvPMF+F7rOh/P0QS9MJTv003jVQc02J7BjbG3Ricfi3AQMcPxw8kNPGuDzaU7rqsbyz+Pe93qSV7cCE6/P7S00bx6d0gPfmlxXoLaE600rK75UVqJoqzqX0AAXn3zYAIvPINX8ZJ3bDFWxY7bQ21EcrZuM78O9E6xEarPTJ4dCoAaLC7fVUUVbkoHn+1Dnx4W/d0Q1KvS7DQeHDRqwvZei6yEt3ymXElWEDbBd2DIeYmRy6kQbZypSeLBPeErx0EVLzsZ2zXU3GWW7vADZKeuJl/WiEZGC/9LdecAptFOhLkMsG/U3eq8Fk5GYdJSRRQOaoamkEIXZEXaGHXkkHd5pCAO+tXT4dJIAzHWuDAMN3qrUloyPa2/QDW8tK35MNBMfX3/Q73WDVJtYTmaS4d/DGXCLGZHbMWCXe8/zZ799yn1aTNOJ3nBCA/aoIxpfccu95xl+CbodIUT00hKoWN1iiF8z4H/NSX7XLnRHZFOzz4UnBW7XT6d2fO6RXrlyWnjy4+9J7hy/25GwuJKCVHero6V1hStIQ060J9YGskQv9HOsI4Wod8AkfkbZvla8l4LArWsv39ftY1wZt7S4cXdI0Tzb2ktVI8LDIqx22fPsQc7EUyNTUyXsg12xE3nFf9slLQrQcNGR84NPYNz72FbUq9L1K3WPk8UCOnb4MjcECGbBZxHqlvQS42qj5HyvQDiaUvPr3dcghnQlCcckY2G0ELUrzvkqKhbrLiYxmgERc0bxCOJY0j94rG4N8EwejaRUIoHliS6X6GNHeF0poN53wvCnUyTzSx34tmMnG5zPBIr3epVceYFSreUSBP5HGers3X4cGnKYCOv75nSImLKIGy7TRXpGILz1TLw0hRaRNrgwKL00ifTi/Zwuw3nn9SN+bJH4huVVoeq8ziG61YsIdaBwHMuw/StxuHjbHsIu0tGhZeLhO56z6cMf7ZlsABO4VMQGADZUb+7/DKeOnd4SL/dNpoi8Dug2ZzrBlVst2ravPklVlB2Au48Q9f8Zkx5yeCmPJznDxdnSbgcCt4nKV0s2SnDNT9HcrHaItZeduoKyKWkuobZ910qUFUImNwy6Xpc/gMtcgqCjex135VggeZO8/nInnK1eiZTuJtug7C/HpBRH+2pzMhmh9DSAnq1DyTT1SvNOyYHBEWOj6K3hUx2vUMXOOKuZ/LLo3p2UGjf6b8/vbVebM7zlrNQsJiTzMmHK9MKnLtBEp9QSGuz484g/x1blrLHEjq5o2saBsdEDXQzOt65kTuPFzZqnX+7lAEteC/hhiejPNkDZQgXhmvfVM3aEbTDQOSlbBUfxF+W44uMcm/lSvg0tR9UUctB+BcnHeWgE0NfYs9mBJoq4nnS59xIgq8vW65WYTlkkQfA4cshnYGeK8l9Wwv01Iug2+D50yTR2013pdR0PQPRWJ3E1h5gN/KxfEwQLWLJcW/Eq3BiZIr5q7h+DQZHGNhMqMthId9r4L8lDDb5qrQqE1OGCbgK4y9hPNE9nEIQylWa1gkClTv7h/nU0N0F9WHuNCgXx6rNL9KlecaAOtfIt/5RSKNEt/pKWClu9NZ6yBCYv1DsSZd/1h0KjusJwxQWp2CN0GF8z8ciIBAaQI4+UN0iJOyQ2S6WLGOPjXRnKI8KJvh0BRQZm7TMrIYOBxVYAuThjdMTaudxBKRlSmPrlQGQqL/mBiMWhVsmgpMPqw5sWs5WvvIE+g/4dWERagYNV2D3uWmYt7LoxBQMZbmY4tC1enmbfWAlxU4l2aOil5si4C2Rj1FXCaFhNW3EFbmF4W7MHuvcDf0/lHjXnkBe+Na+THaSl8v1nEbt22xQM7arBldJZ3CF3y0QVkN7gAcdquLjajEdt6FX06oCTnZkKFHluk54wpGtKOUeIs/Vidc5Wlwg/ZwR376ZQViIfSf+/5eRIcP2NZ/tDFG3NXFgp4EknMf9Ho0GNkfFnZkyh4d7vgpm3rGiVGLaptubMhGrZgf0ySHnbKlg5ZWrf2TUTEaGZKhr4VYPNkhN9paJ7yDoldW6r+OvCAr/HzXLo7PQa29nlyTbfQj+KnIX8UWa+MSAQbCGeDAKbLcqPN6T/Z/dEdY6BNSA8x1K6MOFbTHBR8dTsNSW2R3dXObofpzCvEY2x2fFrp2HZvTKHVEmQeFUMoUNzv31JOWhXf+TxCA2E6UjDCe+humqU/nNHgTcZ2/wotlhEL2nTOo5YbfKqPXJP3DEld0xzATxmvUZpfOpLo8Xc5o3lFVz6OWuOc4GkibnFccNz2MYv2OAZu8CGoCi3h/y3Q7yKz0MW7TYX6RCFeJc7eIbja3hRTx8bRd/lEWrU5LF/IsRKh4fMAt0CASIhxQA6Y4vyKQqTN2C7+UoWUnegKUDjlE+2YbwYEYwC1ju+1IkHdR8EiHf1Mqnhqs01SV2XznRPeJe8a6jGgAsyQvUubSSfmeKApoURWgW5CBxMESdUD+CmBOkvXf5xqlj+oZs8wJQgeNHeZH3Byz13KM7OoE/NjR7g8gcIIwg/e/3KbMLV1L0hMLkHe56aQ1HEulTqI/eFFaR9jYO3d6TcHDYM5nGtv023J8hFTQIbVWvquwkhRm/xfLxiDQHNwML/Hrv5dJf0om+fJtcVADVzC/TZDTQVc5amB14OwfFIBYJKFWQefqwKHEtGPTHHVkCZT6KRCNsL9iD6NKqjINN+3XdVSjbqxdbocg9cNAouIVYn88iFMGXM4rQD1MP0iNoDRzT34rIMapuZQg0dDoBZEC33XlZSRUt+t/+AWdpvQO1XntssHuhSn5OjJ6FrRXN30RPVUBwJ2y1LXf8m7AOqP3b9tHPO6rbn82HecFpJKmfcmZXBmZrKvXmpAbG+vb90qGOM+zLqWUazbw49KubSJVthvkL4joE1JvqxBj9qDjAlu5n0/LY49Db0cEf2c2krvG5ypMYFpRg4hJd83QRbfqOnP+KeFjhdL8aaMnoC9A2POag3PN19sqJZWm/aAcmRWvOhHYmPGQC6zTaY+4eeAnVVTvxLU77rYmFnP/lnqhHCHrPVaznU141ojIh9vi2yRgza3rxB9mumM3Lp5iMSa4t4i+stQbz4P+Zt2DXaNLe2njhOAhi5pQeobSrodVVROPyPetQJAgHpTKIPnfpBF73QqLpZ5IPJURRkzjJTY8hn5g8FoX6Fup+VhHK/TBnWAnKnqL5qrzFZCIkqEk7XMCY8NEmImQ/CtBOgq2NIBdqgEga7ZYrd1oJJSH3yeVDupB/Adg/GFg+d1wqRcQdb/Dr2LLGa4kbgkg+h0bOVRc9aWG1yj57Isfxjrydv7Zg4a7IzLAJ7Rc+QFHPRDOgFtCjla0Fgs0v6p4RPlxbttnaNka9xNrAQa+0mrKVbZlg5YGGFIr+fYuPcjcqB1yXwHpmBGeOjCcGChhWFQZl3kKtUi0xaOU6NL9FSd/+Cl2ULMxF0AoaCoP3iXEEKXBPEBxiiylyPAfPF5DtmdNFC2KqMrdk2ml1YQ8UOD5pMZwXRwekJMHZ/2u4ADJVhFsA2Id7LFD+VTCdR6kRT5E3E6GCDUQ89av8+zV+kBGFRZ0uEDYPTK2FIeTxF8ktPOZG7dHtbxMta9uWB9N7u8vvLMP9cqrnAbfqGgZ857QwkfmJRamIsnkbwUiANtG1ZmpgfyUsG2NSmeP5SnqI8pkgVZhRthHgPmv0mwKR1ldUXHaav+vIg1HmHyQ4t+zQ/2jNDnZ1WiPWWnj/sROX5SHCCcj0QGb+0V7IEKZiZlTHZivUxQKsSPt64FscJONvZ3l+8lbxEczdjY9dHUvGfEnEEOGNoqJncGhLu/Z7Ic9dRGZpNk5nbrEu1HHEbN9Zlrq7DGcHi76tS6OlPhQurkRiyFC3l2uN4vLexDC8XaehLU7gGn8fBRbKllTnLqqGW/CERo3wXSJP1JkSixFukD/0RSkeUgFAsDfgQWhmWfJRbK4ytsMkYfSOO1NHs7ulqIN3AbvEM+Z9cSwsJlDv7N6UNX8gIpaxzNRHbplToveX1h0YAMV+ROl7ZcegmLGqMPWoYowCJygiFAcsW5M2P5cdCR1WnA3WWEA49AxPJ5jXONUvAPOlFPY0RNYh3Ni/rPgaSGn7RDzzwiprRtkxIOnBy3kFKSkZeG6A4nx21hIe6QBtQn+sZXLHsrMko+wwirhP2FP2KVxgqIiw6ZVjTGHoSPS10AxEDHWAiqhX3uVINr1PGV3C5L94UzdxoDTcx1MWH5wpSxf2bb3FBN2xd0GyvB2RcopqhNZzLpJ/I+zXgxH4EflQWaqPoPStsZGaLV1e1MwLCSeP6100GFd45ZMIcpTp3mwHfKP3RA+VcvDLSxYrJjm+gDSGguVsWMZ5Hjiz9vccTXBjxjhTIOrPf9b11+o5+Tbt7Ya2HJBQnGBtFGrp4nX2fqlCikZjimBwEvJQrYg+ooScYuH9Txtn0sAidCQD2cR5yT8Rt2gJU9GW7CnljcQD/gu/r1ja8fHB4sxi26/SS3VHx5krVAjmRpzH4FLmwfjRxioinuTTOAB4ku4ePpX/4xqalIKnmIZcvPRDB91w9MQNh8+WhvHXKgNVCwOgnIO6257FAMzpKoj8mZtxUJoxOrSLZR2s+0qKVEoWhHYf2eQ3TXLwkIrxabsk7EQ5TQHLQJkJmmCdUhys9y8agZDAIkHFPJyc0k9HBDndBWwPp/MXGAIzUjRLJVjXqNBgbHNCGKBnE6Xv7Qvj+H+Zz+YwAyFUXd/nD+p2scYWOI3BZcBoE5DjjBD5sttcQrlofH8gwrhFt0v4+pLmJO7gEx+1hWxQZQ/+uWireiwOfDdxdkSR4zox23QGSuCAzQMETkUvg0wC8guwoTJTVujYkrkSKXIJEHgmbTe8yUA7P5EVmJJ4oOFSbBcHRrxp+2Pwzy1InSR0gdZ5mHIJr7uXfGI5ACpR+Yn/NFdJdqgv4/KM7A4B7uR2OVPyd4cVC/ZqNOO9/J4tHQWXLB6fmEk6wySyIbUSiGrnhPzwL1RjAjRgTcluo2iH0o2qkhKEU1mMicckBgMYjaSFW0HH8rsDPXAhus5QV0fJwV0bfEH5VL8BVrapDXwWrqsq5UX4fQouZRKX/4rdwPlJq0oRd9y5qQOnraGr5z+wadkFuxGLgtCA+G+qOK/T+s+nA/Sc0B8AW0SIiTZlqCIzUEbAQdcbDpkXKHLwf6yFm+SrCeM3COD2KpmCjfbGUwv83Z1UHB0KQGdfoSIZSUxTNSYvGTxvghOxHS4z884Re1WA/EjX+eTjHiyILGiBhqATnNq7nTnuaTcvsEpQFesaw303hWQjfmxfQCUNFcJdxJ+NSLR6hCEiHtfWUCEMxMZhCrKG/J7U1AirnbD//+zUWPqQDtbMrwMMNzZWTHvKzpZhboSwA4/mwo0kjusLzOwQDpcjCxReWSJVwyf80YWBSReyt8diuODmnuxFi+2wga8juJ0CMYBtRXGroYYRe2tz7iqQb7jSSKGhlAWo6CsehvxS94VA7JMt9378nz0x8IjZySXSr8N9HlCmFF7nkMMRehhq6G2Q2Zg4RtyaWtQVYcbbNTYqsWPqGvYoPFAAPG6kpz1AhbbZA9PGBjWzOF684qA2XgxBcSyU+UmWRuDHtANkAy+CYSUfiC/3bUJyRvVE5CfXPwAzvSa+16u7J9OWZIsUfjvh8ArUK++C1DwksM68j2c7q7J8c8k1x7p+2BpOf32phLEfnGEtQY20x2FHLYQD+O13XbgU1oICsqLiopxbcMNM3XU1U357TXtq9MhBfaf/lpXQdHvjki8l1pTbDqUEht4VOnbZx25GzN+Fqh9e1BBOf3ncFHFqcmUzuS4zYIDyl4AiMyutDpgNtZjqjbX2JgDZl+XaWo3CEElpmCXcjedpyeyPcm3xP1E8dBg/2DmAxMVF3NwQvom8hUwAtB/Fys7YI06Kkp/dX5277DUM/8zsR/Vw42VzlJ5dr0pFXKML0tDDjHTmucmIVp17H3pMUH1WpfgsoxZm6KlGYK3hRhos9gqtO+vJRxBmZ0ojhxaeD1HYj6iaN8DwrHs2mcnaP1FNF16yS25Ct/QmNd9gt7YRLo2oyYNkt1jYsK/4powlHseNx9UrlMN3o+6tzbr2/40nGq5/qBafVhKnIFEWFtRZfSFUhkxz5WoguZAuWv+gLU2SJz1fDhjIdT6DoZtHHDswbCcWBRiUAvQa6eLWiWTfI/yWhTthnweYRbqmpY0fo/eDp1lF0qHRVXk/TBsFcyM45oM5CpTKNzKToRqU2MSw8KRvfXjNdMpZjcWgFLUwEmi6IK5QBq3IqOGkTSFmPbjfcvnCB/P20d6kcE5TLZrJCuSB+pOHZ3y84jt6gOwE2iPtrFKTQr4FYQ3Be2NM8G5tPjD2o+fgtTZtFxpHk9JYEjmY6aBWi80dMuWILS2c3cTGVxvz5iLgJXHCJ0c4X9m30w9U2oWe5KnDdenqk6GlzuOemGwHowZv0an33OIzyxa45p60+P1YqxkH3uIg2OhAH+qAHyw04YM/IJuKRHtgpM5pPfHI/xIqyTJv24fO1JoWlgOuiSqQIr9lFQVywZHppvqIbCr/mqKk4ijGoD5Fk1BG0kRu4MThBYidfwuax7mIHmHFtNOoh3Wxuoze97GJOqcOkvVXzeKqjSOXrSwHNoqqIN2uhpLSm/p7ODt594IKgGLbT5wIubbpELvVjJFvjhZznUBK3ZWl4g+slvrY+f3s96CjXgg3A96Fg4ll+6iLHPV2hWdYn+gePr/LI4LOCo/5Mw73Xtt72j4PymUCZaxqEUi5bfMI6kJRcaNP/xbQDVnArNoqg+n0TFI+IOJ+ueG8RHlzjlLs1kkQfbN+V8R5x9vPycjHT7+YRx7JnhkPMjqW4XyDOCiEHRL18rQDWKAf0vNtDSl6iRZvJqBygj0+kPfRmjhEDD5YqnPHsbkdEOy7RyjC66uYsx3yiRCH5gxatgr0GevlRFxjiwFoiYt8k4twgPxLo8aCd3a2DjmnDCeicglL3Ja9DltstWhiDtPa5ZIJayrD7gojZTn3KXGQYsSE+Wd9g0FkFqrLMjciYvog+Ryrh4sGOivmGWybvlJD8RL8AbOSrB3bduk1PZ0pywQ7fIP4yquXxp2QBSmwhhA7I9p1iK1/VzePlZulqk87ujU8dOrq36PmHiX+sAczuNMWz0FbzsUlvj0VNTKJK15yddPpBBFFGZdE51sgZg+a0kkkc+MC81NM5tNZMzbHVh5Q3MI+zTipd2t3DZ1UA7bjEHY/YUhOGbU44u5kHFfdZc1hI2HwUDsrplNUVU85GBSpyMGRTjg+YN4ycU7fWaHYQvgklKbLDaVqPTaVFp/T/TAXjFAQp60qPwicFl4ADQxYoiy5pfYKEqTeip72WOIwUs5mGoUt/QgV5iLatQo3xCHmwKrAaLEOl758LaSOhX51BB3QeX/jeVI23OeAC07lxTLOEgWlp+eGZHbWo36R/syYDItPD+NKQs7E8kyP24yidc9KnHvU0uREEQWMhxdi3+3+TI70ssBMQT5DQmSyxM7QgZy8YRamg/wAPXJkXYohJAlz7+T7T60nxzCXJM8jGFJrWP1OZFuHag6iRJrEFHe9GYpNSHJkw9FtEjmW4t/BDe7OSmUPMeP+vDRbIxspCo9N1lWNRukqZKT1QtMhYyr7S4wsdnWkYW7Q+YNTMXT8zVF+kCT54UZuJdshtj6xJawLILJCZ1Y1KGaH1a/VWEo7WLjzN8cCYMg733sONCudNv8it4TD5SoEKyJFWCFk75/bUISVujBMucnK+BNRRFZSh7L3TZkNo0n0D/BaG4enpWP3NFjmAPjdWmc0/bhYbs+JmPQPitUH/qb+2lFJRuZ0kW1TVDkLgpaltHL0ZqiU9cAE5njuOqabLCxVFz8IVWBp4xg3a4um+EqfZgRp0cFF/whrsOZDnqEvC5k2v+Uyo6ao532v5jv59kHFYovYARm18FFRsGRHdYiGCAnHhebbwY7s+YksEYxReHjh2+RqUrve5x4xqrh1owHHdOjv+xD4NDb9bL0DCjzFKgBEoa1cIE5Lk1zu2YrRhH8k5Aee5qHAPLfpCy5DQnjHQYNLo0nMqEQGBDdNchZDpSdSddKXnHqvPaZ34o6TxPqHd5vQP5wi390kHgsA/0zsaxjIXplhdq8o1S+RB/b/mxiQ+5EFJmXFgDsFJg1/lafikpkpF5SCR8uOy9IPJ6K+yOVdyOyf3AIc6+5DGOi2D67shOfXTpnRS/SIu6itMQaE087MddvBHD67uZxyFSxiQQOFnMgtf53l14Gh9nMenBKO0kPVp4G6eTRcXrhD+Gdq8OW23O+v+TGglJnoz1HYSyA6LfhHZm6paq4WCYe/SKBhd/KAzTcWbfFJjc90uns3DwKxCqG6zC0VaK7iYwPOBOg+9xGiCyRgzCA8wVJO2vMknfjR1cRSgJfiKCLHEewdpXxOjv9Hqbvg192Kni3tSjaNXQfC109WFVK7brELbtjNDvnXnqJQHCIKeMm++K4qWn4qHWoROuJ9BM2m2y+uCI2aj4a+rBWyCRx+/fRbeViKHR5U8eWaebB/TyJ8b0jIr4ygzQbajEUzDMLn5H+KbDDplkj5sYG/kGlrvtFk6/xakGcsh2Uud6XrtAIOPSZLP/yJbRypcXJb/Zv2IN1jHgK/WIhp4oe7+PupkoACY4brBIerKNaw63oF3jwAvxlgHBA4/14gje6yypCyYWmL2IW31Tynj1HOpBc/x07mzSEw3cDWqjofeW6XzU9tNnAzWB7sO8VOxQylGvDTTr10h/RTZvZOrlRQ1a8qa/sWu9Kik7vGzlvcjsDfMqmAVb5yc9zj23GUDiKGjje9YVNTCZjoPH4mOVLAVP/GIkCOf+g2Z9NnOFAC1CGc5Sft4olI0RCcMHGMVYKfkPqt9rsnhUCg6EHRUwDc2ZErbl0nCDBM1/ZJl9OswLxEA6nxn+IsUB4PYVWE5jyhZyoM7ufIm7sdskfc3OfJnf3zdUII9zySQKeyy85uXXLa/kkdlmYlqXMPPzdlaJqls5nPpi2umlLe6dWHJC4AsUQzrntq6cPVtN+z3BQlfWLX58M6FpCgP184RHgBG80BAMAZaNpyo5irPwkpNK9D7ISTXhDpPXJS1l8ymrAoaPjyKNB9LwNbNM0CI429oKbxEBE9IDMvXwnky9AuQ1A2BvjHtWY9cSSVYAeckr/BGB2w910kTtvrlEnHFYGTnBTaK3vrZNli87aN7eO4ZlcWlKMo9AcCRn33MLUt2YlL8GFh3/V4IKqrbzmKQHofBD29D8CofG0o94hBLtlJHHV6Ox7VVpnKGuOG2A3dSOlQalorzETSCYh2j330EgA8x+eJ2ZJI123eib7pSVx1pGjb476ZORVPlTwA9/scuLvYokWiYAf90wIs3jdLSztRtdBca5u5svSh7aJBeY2PD0a1z6vPSWfz/k6egJ8+Xcu0u4YV1vEm1w8Ub1WLsHccyHDLbxJqL3QBRvG5AQzrSCE0FwPKz+UqgtIkcd086y/rlMhIn4E8JMS7qTIvJV+1QLI5PIzXXI1rY+Pe22VrXt+vs3QRldEfWXLIOxzv/i5GSvL4A0bAC2o80V6Vb1tVQnby0mVBt2cTp3zlZdXPtEfkgMZdWv1UkBbucN2Cv39VtBH2IWh/B4q09ovEPZd1esrdacv/zUTEK2t1noIUIujznL4C3EgS4xyOKStPPJeODHl6xWW7j4E4N4sMfYPkHPXnpry2ujX8IW/hvGYkl8SSq8w/qzY367sefhp7EfByGDB8NaxSe5E8jkDkY53nhvCxbXUW4+xQ44hqGY0UI1YKox79OMO8oG3snJ9zK8q1pb8pr/9xD9z0pj/8FLabYRprcp+aUQ6dLr8Z3lWQO2g47FZeBpq5MxwpWXhCPLIxa/mdOo9CP2/CWm7P1C7YELZj51dJuV6CM66yrIMDDTRWiiMI4ouM5ANQ0IixjvYZpo4mHsz0M83rNqm8TBXbiK3mMZ4a6kb1x4p2VwRTYf2mZf8uXvzDBTHD0+nF/N0teLM3dM+ma0jNLvtxMFwN+E7tAV46TkSi70wF4F2se7H5dSnBwjF0KWa/wr/KI3pjnMqJYONR/QwfAuzCBHBQ03E3hMoqsRc/frgIpzk652BlqBI0VzDVJt7IyJUSF5va/Zbbk7PVQ7U3X4LeHkpiMo/KiOd+HOzrigSEs26ThbTSBUokJWpPwarQEWm/0H/3HpjQmEQ6SGuZODjmB5G2eUghACFzUmoWoT3HsjM0NQn2l/WJyjRIIDmR7Pz53rSPNXyoKrT4KY+QpaGfxScKEgm4IpgUeGNeWkp+Gbgf59WIi5OsXslGxiMLhGRb5OP3vTZgKF05SIxb5BwYeIwZ79QnjjmisPb8ABxWazyBzXC4bme9Iz1zRf71ef6cj7ULJHUadDBRG9DJFx9eiCGaiXGJkFLWsUDddOW/6DkZxYYz8dNSTdJN0b3qtyKGs2ZbRJEphg3ECqG3oPIPRGxCMWoj4hU1wDTpRn1AxcSBvCJVgnQ1f8BBIq+LoanldA41TQc4ulczXs3PophaPBncT5PLP5tq5sg2EBHak6dMg5wyGUXwRdeLrCIFij/U5zcp5bRgC/+xvMtpWfi5iSXapRq2JPawb9wWCs4PqpwrNZ+2OcizWxK0Qpig8BDQhA6L6y/26RNhdx96NJt4yu1T+BwLhwsM2A4t/1zQqD8lx8aK2hlzzRQOym374Y3nQEUDZY08h/2c2XV190+mF0La+GvnvlMsmRiEi9OaJrBU/wBwJNZitm4MmBpk/aZDQSeqGEOaeBi1ivj7HAkKeX66fzupImLuDGYj02lNoLFMkn02tOSfVBT4Ydc4sCyLpAXxhx9N2SZp7x/Paflu8KP3zmgxUYBSb+o8Q8p4JkqUZwR9aVAl6W4jyQX173ZMVaag4OfPElu+l1+lNkm6Ws+McJkW07CWERjYB7pbGZBT7BsmlUZi6cE0K86a4gg2fbCoaksx30HuvpAx5pbDImxCEuzofLHpUpqZjwFbMBGR9exnGONQ6gCflKmPBYNCZcU6ej7Dw6Us7JGXKh2/0TVdsa8R2gv4NloceP57PeeSmfGuPnEI7WDBxEtYHAXHlKTjgJ76ARAOJLwIEV3ZzOFT7oY30xRajbTzFPA9VIgvzjW0D5A90Km42oQnmSUJGZRgMAKyjbqPW9mex7J5UkLsDr4ttLJ9suzHecLsiUPQHxWYZXrosiQdMQ5DVkEPYDQhc3N6J8VSiPCYHoETf43TMDMHSAemVcmZGG/cmuoKYt3kozn54Nxp54NmzROG6lnJ1vxuYX3s8cWkmJHT0j+KFn/oZpG5lXUN5QGfUTCcbM2o/1JvVrFGuuz4WbMZFNjQW501hVwjXJhG3P8ZBhp6n7rkL2GHKOkKyqWx9FBUZetHoC6nK1Gi9CKN2AdgO5S/mSORAG79x0SM5PlD/E99fOctuldHa6bqa2z33oPHJ8L8xAcNqyozJra99BkjIs3kyRQtu8kGpj5wCO7y4O9xolvIYy1czlItw4bCqUMSFebHdE2NMYiPcflUIgWVNRkYRkGaDofcZLcnimpfV0M87B4EsHJWj+qKMzGM+b3+EiuwfsLBRG6OJDdAU8sZDcYqDYJJAKpCcFk6ZoKBQq86/7y1IwBU8zZjvuxv6tQJjYp+R8XGOg8AJnLnWRa0hdEz1O6wh+sTuAx3KRqnKGE/edFc79nK/xi3FTPIl60SYzlRwwydS3K44EPwOsQYGhpppGhkQlFXCMiFzt9wLgVK8P7aDpfD0mGf2gSiHXdWfviWoB4BFzTL4Kx866ifnuRBUYDyvZsxRtZyViVtGD62meFdaMc/r84anrZbgGjflsNfPBoK8I4DJuFCUrMnheFwNXeyOa9xRCi6+ddcXXQabvcKA2VPuOZXrzr4/3R5AiHNuOOFHU5KfzNSDxLUDZbcSvd64r0j04ZiW6RoWA1V+VbtQZ0CpIcr3x7PWlAYbCvkwkhIBIElILNPmtiDhM/QbLaERvDNubYvlNDK7cT+9Jt/F4NPo8NI9w0EBCIHzGQrp/6QRkw5N4NKX7YRk1JbFCdM9URVTkzpgQ6DnvcVdOdF62mr6rQIBDTw3AE1P2037UQkR5Or4qaWqBWL9sMUg+vzrb1J5Hej5pWU4Lvjb7MLnuUH7vf4EO+FtcKMqTlv4WuoPO9MDkQ3gTqHpKmFuOicLw5kxJepzUaf4edcbFiyUykQ4tq3tSBfggpFBpKTWEWcOhV4YG3PXm2u1Qd65x7J1liUcXF+S/oIRxEGlzmUicwdKlKu6+aVzk+LT/kNwQfFMnPjI8aV3PPEbTDuxSOLhWn+CG1fqAvwqzwbBYGn55l5ulKwLvSDJQyg1cfjYIhyhPYYxtD4wsMZgKEKHJujQQbqs+bMkaafjduQq0nf/dhSWHn7qrJFqM9n5gb2aIRGxUTCVH7jGv+hSVT8178n1MRITqAKgYnna5jySN6u7JtzaV6OfWjaFGs6NRxi4OgSI95tHrc1YcGh38EfcbMzr9tclJ3/qpDqz/BbjHOK+2clM0O48GH9icTemUU7YOS4zYkNYTJBZltyHNJGyCAYfHhk/Q6NNrWOi/8ru+ppJ/OogebguZZWCpaQ0XUZdQmdiQ+QrvDG4DKpsxqWQSRiWEuH62AjSoTzhYShR8cvvtCTnK6SyYNNfcxZehaSZGUPRHdqvuIeNsDsLgwkwq6SRwBLqtAf9XmgJ//XgkITsa8yrSPhUrcnp2a3fD53TRYVcsC3ogf2Dsy7h61L1q4VfPcZguvBJ67RgahPEoQfXdamSEinC5Rjjf7/CrLgKvHdcQsl+wLCjPwOj8v6y6f5LOzC5YpCq3Qs1Gv7NRLJbL/Du96KoKxFoL5PTL1lu1yVCF0hls8lD8LZ4XPZFYDRVxRMF9P94H3SNTtQzyYGW1EeCADvcWaQB2vp+LGjiYWX8+wWOaYMWrlcog0K1VY7W6qBxRjlCqufYs30VQVYbrM/fa052waSPgK2YCZHwG5hH96agyHfYl6QIcZpcArtn7Ke7JxueRlVqocpwZV6BRenBWEkoncriP9+350iYsznxSBcRvvhNtGDeVom/A3Z/lHTt5zNH7/vQCRTZSNKxFZDAVwKETjdxVlQ1euzZ2Q2piLyCNotS/996FUSPrMIBLzGDYYrZVxDwyruumQNujJP5ySMLd7i6EnFCXGBIrTfq2lTGn6i6TsD9XSYUEz6Hhj/SisiuL5CYQMFR971HnFIfUCSCawDF1GDkUob9oPppGqFgPi4ufQj1ARqXbDBzgVgR1PkAUhq18qS0OhcK1W26jkh/pVYuFydXGPCmcuLpr7TXjhNALezmoqZj4r9gFv55YXN0v253LlNRPQtpC/OCwehpk3DrfE+fisWyQh3rqrcwq8qRiEmFWBPliLyqDyag54B0b/8kH2W2UMQenEGthRVytj525g/mi1luFlPnjfqtpelr6e2PzOhebIYhqjTurSrRuXiRO0pgxEzh5n2pv0NUYzl032PZQL6bFpGwtECzpUuM378tE69NQj00BUmQRFKwO97WWGNqPuGTzj0C40AJCqOmACdF0t9V1NzwCCaKhodlh22WNgWfk+EQoyITxz/P07Hd+efMcxebrQKHroliIi9/upoxgqriaWPyB0eMgKJGsRryNiNaRKvw9AWn2qXa8Zy40/OfdX5guKgiZlulxwXcJV2oZGs2k82K+2FTkdqfQ7vD38edT+KlOKOIYwstKbt+LyiviWnVc/3UbK1BelDJ0QEPv8GrMnY8dC5qk/0g3AZD7jgDAccvxm9nNOPtIW/+UI8aop4JXTkVg8ThqsDaVhl0hfr+iHbtDC9Fw2Yj59c+B+mlXs7a/+Zrsfngix9FcIeMrM/Co3OMo38lVw4pFIPNQTgI1VyB4Pgz3s2nImyp3B+L3GP6rvGnHPvLQ/z31ZIosvJpYez/YHMlAe7q7osFsiTSTP6dVI8lgjvqKDcLVpi1m3SfgQqW36+IFjVnNsJPYy0KlW8KBVlHQfEBHEwd8LrgV0zG42y58e0JlEm+6gJVFOSFYpXxy6Yktps2pTDIpbLMsAyPQ0Y9UDbMQNandzDm58dNEnkNTNk4SfyZw5clCSLGIMxMEvqSgUqS6xL6A+H+UwxCm9GIBGzJOFfmjxXrp6HKJwqK2089j3kUpslmiVzE2eE9AXV1odJhkWoHv/mX/covNKHxeRIg+/e4c7ZBFt+USZ1F+7H1yVq8Na57ZcU9M8gdaW6BxWAbDGV8OONx+glvaKBqHBX/99UJtJh4XaOYocWQvo+AstRd3C4SKT4Ipvm+OOq91X+B9tBzabJNblfE1y/KhBpY1p07sA07MqCH1/mwMdds/KgaOa1/dOjgcUB7FAqp77Q9m4/+VedrNpOffjVYcW4mHtKylbjPWoji+WWt/UAHTvkUKwfdZBdSA2RQNFDCdaZFjeKm5tgSBDfCMwdJ09W9K3w3awWXum7Sktkqp8Z64Aa7YlzBzQMH6fssF3UMMF6lHPL0FWT97+NwxNs0mnjbJN9NmfMpqddXrMYRwGCGr/OSYNQX4Pqw3EIBTbXR2a6B0BruSSk52xsl3gtxGxMkkbrPBqFP05LKjoLeiww9bokLiXRoeQALmIiRUJIQ4QmyFPHvIxXSfwT7cA/WunPmJVIumIySXLoD0mpyWEgciEdWPJvmQx1mAxO44QAIh3qhbHirZZKDSW8AVqkqsPMHvCA+UHSYaKEB98BUE4o+pu48jUSmw20zJN0RgWJvfdsGcyzA/WfDkKoJn6nicIyf3+29sqi+f9gZQwO6a0wWETolWa2AdrOLn9Km8Fet+QFf+xdbnRQjf3KD6B+oaj8+Xb2SXFpKKACvsRqeGVQ8UOCljrEbVJTvfdpPZIn9RFHGsFPo0TtAHh3DAy9G8YP3EyLjeUKri1EWzdN4WcYxmYgGZtqX3zWlk3AUO6goYyDJhhiOvvfS2iRxeMHcJdAyWXZX9OhKlHNBX7/1fp3CbLgY9BLeaPI8B1hajBIKSrIqd/4qQPS8X5dmwlapchJT8otRMwMDEpS42DkmJvwLzXCmLM+cs6sIt7xhDfXB8VSuYdArUlrj7VFfbNMZ6lDh1VclRDjkVEnlyhVHifNdj6cGq9f5A7qLBtptlVaSyYIOlgXaPpFcYQydn1k3nJERl46u8IXtOjTI0FW4BzafToRAYZWl8tXDj7lY7q90va6K/BJ1aLLFjTzHtzkufs2Ty7pH+VmSgXuBNZW51jmvYSfSnPdptkUv4KTZatCk9Adkn7ZuHejWdyVwvHyYLOVDKjKep+So0nO25kHnjRZPj5xf28uKzLTbzY/zwWhYRcTFdKxgUC9xB3lHig24SPJXvF846aezNeDq3m4VPJOtifBylIhBRtW1GFD9A80UdxTZmHoybEkPgDPyyDTM3Pr731RvMxIj5FVoJlrkmbzGsN5Qo2hWTUxi5kM67ccNl2p9hU/e138G8DBZRX3Y6WUEKIZdAtCB+7s6ToyIafAAnXO4FZZ9ZTSPSwKJUrx+Dnn0l8cXZikz8n3L7xFhuHYPYF1GjwPEwJpDDA6f5MYq6AQReud3n6pHXD1mER5GCPOvjA7IfuCLcMAcOKt4IRQBx6jmULeNxrbWubqo9IAgE8Pl7pbkqbtsGykWZYV39WdjXhQU171wvIID8G/jAU12xF1/sxQebZaw3S5NWICo1ZlR0Z4fZgDK+O+JzVAPkFCpoCKStdvAaiO4FD5q/uTtnwrdBcRApM7iUJT7xeCsgzdCGsnr5CYxRyoHuswJ4vEG9BeBhl7DK92MMc+ltj9bHWjdO2VUlF5W20Q+WLZPvxI+2RZ++q/X4dxbA1RWvYfODdlswH2GA+zTLiqZPal1jiyDnJQa7diSIWgCxLk49yzKJj74t3Tn5SVKVD8lypkYzoj4A7yU446cN9gUMv31VlHaMAaABYm2z8SxZRT8O+EgRDffNlGkVUEEtD/XaS/Fe0CeIz9D49E6I1bLrym71MFd18nIpczHbYto+xqeBKNZAqZJZ8qK7HIGqYHQjl+B624KOOHYgHLP3q+el1nlvf9YDbq51+F9zpj9uj1JlAg/tZdl7ZCBdBkRyHCMx2MRv2NZq0Dj51PYS/u/EAg4YJ3dHYkfv6q7LjXUAJ7kRv/9/ZUSf63KUGuIPkeWqBFFX2tOqRMC0UHwrd89o+DSQUhXQspaHcHiDQd2P9uj1IkZlydbiwIJiMANv+YAZOCsf+hPlIGU9XdN3XRfMxANcvLhUfDZ282pqF7SyljR7LAGAPKEkKPzckz8ngyRHd9N5QLSAausyyUwlgD9r/aKNffZEs1e3uQHF1OK4PCZPpGUOk1RAxTl9DqcuAvdevRPxm8VlmhJn74Q2OBEhM67aLtGxHeloMKZ/JIkp1rmUfE0rd1WfrKlchsbQkZ66RvxVeBgeM0nM3RQuY8OkMSIFWiXfZyr65bZuwmsd2g+o1S+6MhRH788iQ0t57c2R6CqzvFgtanE+/5ihH+G9VQwQru/87LMopEFWKq/dNDPULreQToWHtRNG3uEFvP6sPo/Ziapz6Udf8vIjbFLhklvwWVmCgNjYnJTPJKn1FJJpIk+1Q7Ke2epfovnKEJQy9T6UCZIUBQWTnGN9AFx7oX0MOhrKebnjKv739SCgm8RcechC10GcyxLuY2d1Nc3LIfYb6t3vONNdR2T0L1xTyB8cGAf5ab1V+E/XqiDBVzA5i+cw/5IUp0a0DATYV6dbpwvtXpknsBqcdOBGW52c8KzSAndSV/bvzxBr3iDC3cuFOxoZYGefgsXKJ7I/pBazh3kjkTlAF305Nh+i5NShlencBrefIFLw15oy3aDI/SRfS3lmXTV000NCVb2WjyKvu0ndp0ylJO4eLnCuw+UcDNLcYpedRAOk4fT8c5W5xTAZTZL5OLsDtGYTScXyGYaEHH6Qx75y8PNZHhrmc+q5tcYbDbLEI9RwLiWwm2gutn7FuPBaGrPlx+meuBZrS0akk5oMQJcL7mmJqAwTiy249Wgt/GKxZctYRwEQkFW8kM3Usp0iemhXzEjB6R84R9eqUMwSkOgihNByQYrDXGfdPRWt2hPTvPbUUwqMOJ/Vc9xtAXtmahNeHYfXjOvMwS67o8VEy10b8vSFhdu9FeRp0TT6ycttDhIPvT/tDSHMQc4rTVzATNuHzZ/kG/QnNfs/1GjHPJ93FfnN8fvVUVPGlvqNNrrMvuCmRwgoCmNobN9ZxyOIpzATdA6sNvPnKgmFUTgGPzz0rVidHXAuR7oGaXLJNtCAwJqcIriEpi2b6FbwfLF/vEatwHZrtOB6j/2jzjGplywidm+qKgy/7KCWgllNAXgrGkah8+3nJlHYLo/o7ALJoXmAaUSj/tZycGyq71mGrODQ6YnA5r+TtHKlqTayOSBSdc5E0JaGNB0lpMoefdXl/nhA3NX6p/Gb/J91EA3QsyybdIzvP3oXtHyVJLrLO/0SoKfd2csZ3VKbM81sCqGNd7f23nAcDLSxUfzKsna4c99JboyKcILCIlrV+4RtnMLYABhP3UO/I+kQW7MIk9Vk787on3FtaotFY8SNfXMN9K/Ht/CS5dVRTdSyfdSKVwW50c1ATNJVgKua6rQ1P3PlUVg/k9IhLVShUKiNvqITLUtJWTad3Vy3fY/1Eo62eQUy3+Rw+r/c9iJzx8rXHK/OtIhGpc9bxZUglW4lnk4B6hCSRIWcwm5Zodl6uNdxvYdBb19MJ1A/0uJJLCCEI53SmFw0tOHO4/Q1BpZqqS/PRs/h2I2pe9CvlcbmirsROhCwOx7z4krtQbTVW6h3wiX0Cfoeo7JWm0kKVSiAWMIv2LD8LMGlc4SRoe7q32f2eEScftkg/5+vvHEcc1I8fUe2Z0tYY7zPqngS0wpnfIyW+b3SAhEDEzKq3iXIg0IBhMKxh43JlVcjjaUbSwwLE3marHWWOR0zVN8oBQoqhLfd9AAprp6JzsJgQKuwmewBMuvvKJJ++WM3R7HP19WWuWRXgt3nXrpSozS9TfTmMI0xBsLHMeeEj7U0BvjDiWPobpyEOYNQvWKjs0NIuHKLKdfthCv/7RyCoN49uIGsDA/MhVAHWtc+B5RG6PwhsL38xrzvXu/UaZJ3C7bxQQxQGu4tTcUApTcIpS7G0byTfcWdvkHtI+iLAOel0GvZm4fF5Zs8GaUcppoqCsOVr6cZTANJJFo+Gda5zFyeUMZmyLBru6YFRwhI2LLo4zB1Mla3Zvyt4h03js4sdNyDVbHTAjmRsby8lOigg3uZKw2+vL3GJR7Hq1FsTvK6ezDJ2HpePckbPBxaooN9QBTO/bCfMOQ8+IoNAwO3A++nhUlU3pvc982JWP3p7t8QV5m7wKBUAWGw6msMspn8LtwBNAZ4e3U6/mgbbqzhC9eL2c2MNKTMXEfqaR1XqGp14O1n8M20RcgI3xoxyyJ9Fn86yr57g8eexr3YxEaJse8095fHazXIpwoAg7c+omEqadD5bSw70s700roiNUiLXb8PP1DP+v91rMO9RKOj1HojS3bv3UlUVGabNIyRpOKTgdMSNtLY/cE6kb7RhKWjW3Gl5b9/+crXFwKX9cmBFKdVKIksI7ei1zbnbkIW6FEAkv5UTx/SJ71GSauh1IhJ+NfhrDxU3JfSz8VZ/eIChKm/j38wL5c4tReoVtnLCzoKjWIS7R7AYGobxxHIX0FFa9IZmSXSqDuZUMI45NW1X1ioS9UigpUOsuDWLAM5So7Sts6HS71PrFtpjnqcQkvtcK4QfahkNBJhS3SqgJT89sNExcizCgx24paDF8oDm1INk4vzo3AuAodvgEE4tPhNOwqhPpUSLelHTMP5+UNIN4oHa4rExTU+DHVE51aK9ys2UqiYp91ga+ERmoScdB1idWbjXP5xZimjw9kcg8zvoxhkY/iIp3MRb9ZJrKJrnr16vpiJBvMKFswRF5cznj/ziKrGl++axDzJHVRenEr+KGfD/KObJayadAqQ8cr6PH35+8O7F5jidufJ0uDo/9Cqmxv2jNfQCma7+oiztS6vzmAV0T/TCLlVsnI+6h2u82I1hLvIZEX+bqDwnCMYqvZc22GeP5Svq4FfK6Ma1A7ntWohXt1YvNO2zlzF94xfw78igxxETW1oSxcRM/1OzdG/NqGtQ0Fzu1S1/2BzrxQGueYBLKVGjaL/P00VENS7yyvsXtapyxNL+HY03dZgZ6f7XfHcOwxL/NuTGd0PmBfPMiEyX+YKFFY8JO+DeruoGmTLfvCEh6WZ9WVNMSZzrtJYVueKK9F62RtL5o8c0669WfcP+Pwqh90X/v9ZkKGZXSF/fGiuwFKbw/xvgkY4/uVwjwt7ZjXrVs8EM7tlDicNGyOLFyPGiepRgnY/4gQuwjwsy1gTyzMjtUgU78O3z0OSeCED5Vb7ibIGxPbdFu7srLoxP5p+p1ChbnDcvyiL2JvfXXinT0twZu+LUO3cL9hcynWsJzRNG1/ch/CYdgS/Sm84g26jgBicy2yl9dgS6GyItCuYkzUcmdVvmGhMcyKHGcULhGe/gTn3k+S0IYQeDXiE2ouuFABFpCZJ5WzH2JpLD6+ZH68L2yA4QW6YCFcZQjGhP7CeRG3dg1+oVRTxHGm8tKtzc0llq9NDYzZu+LNZQBo0uU+wUZf1nVW91Scnzt2ujc1Kmu7aQzCfaXsaWOFw13k1D2EzEBocxuei9QkRs5OyjaiSLOCqVt2A0zvb1YUmI7MXkmmG7s9O5Xo4x+vrIhfsCvIHSj0RXb/7wEewjfaQUdoLcsU2/jxOCJwtNCwAakmefXi3m1+EAFkHhQHG2F+FsgThnv2W8y5bldwGvszf7LBBF+GUJ/qDmdjUBtActDf37ymu/BDFLfTCY56Vw8p6anw84H+U1AnDYsfDgj/FtfI7z3Ij7har81hsI6Z68RR/Dgyb3xCxmN26ZliDNB9nvn1i5fCdc+gqY/Yroxt0fmncAvFUk9V4h4rlw29enRNrSb6XMpgXue1Rh+8tHoY4KQr7NOySv8LZi98ZVz7zlg56RUwn4Ncr7oXJdJFrfXFrxK5M4ZjAvIZm/JOpmYUh74vSxgWI9UqtaCc6tyRBDDYAB3nMFq855ceYe8lCBSoJcv5x3yGvCXF35fgm35mxlnPoU3347db1XQNpfaO1e4s8PFFH/rNUEXyNu7vl3vPCCTw4kTge47yBQjcn1Ck38cIs0LfPfRHkNZc5YdMHLbSTD4nIwdhwjwF32Y7R7Op9Y5yTFTrm1MFXoAyR3yxKlkkb1Fc62047jQI5H/0DAViJBVbTxr4f/uekS7lV+nwRlJ17PNDeUtcy9fPRHWwjMzFbrFuuK4J4qnmntMc0i5RW+4gh/62X7kf4th786tl3y7NSCOcYRLNzD2wpo1vbdB2dVT11PgxlJ7H43jg/XpFV2a+DonI5FFuG29wgPIQVDAKc6hIex3jrnaRr82Xf1ApJEOUylzKZTppzvDCzS6tnXD9kxW/J5fXYK2HR79aohxVLowlMbk50bl/qH5iNLq/7Fpw219h+DRvmeVCcoNQeol+QD0efsLSUR0CHKOjGyqRloDlFBTUIFJlGeGCxz95PwBODjbHPPEcfO0Ac3UFH0xm0vvMdk5W0Us5EbWaQQThyEEw4AP+exh/QacvRne3XQK96xz/8iWk9eG8mmnMYt/qmAD7J3pscIy7WeBDtNjMB76BErNrX5ufSBOsa4XWmy7h5KcYWfL+dFp64NF3vhuJuQLwZzsK8HkzvZzi/XkiEOfEdzU2hJtfW3/zVS1BFjtQt6gZVrm6nS2KebGRaIcXMwyqsvAkOIrsXVJGzYBuFMGW7hLpcZoj4Mb1qchmhEIOKuu957BrpYve6z2ZqeQuqLarbM5/rOwxuy25HK0gKYw07wtYQyOlp+hFH3YIaEh/tC1P5mWDup4AM5C2Y7IexVL8oWtuSC/sQsQyL5ynpLyWRxglbpvOmYCLpAIUgoDcpvPW1enwXJaGs1s0B7QM/7tb5QEV5FA3MeFXNUSHIernpXVvvloqE4GHtv5CWQgoNqJRU3kgbmCrv2m5l7vWXfTbgq9OPS7gCNBF+7He27OcNqhP5+ybs+lBlA+2qyFUr5loH1bje3nWVBLDKeGj0lPzoiOU1PA+IlsIv9MkCu9fUQ0v8OX7P88WcwGfcZh5UFTJMoUrP36kvzfZtpQBzu+UTga9yFaRY7QVqjScqGIkZKmKgDPrsg55ueUllPz2QlSY36VOEGdWVXAwjDJX/yPfKupc2zLd6UUhFAt+IOv8lmb5X63FxuVOuhhwL3cE2458Hip4dmAN9F/EOzDrlJxRmYjwVAHfj2dGpap30UgcMoEkX/01VVDswViQTBZ9fzozNPbjEvUOI4KGosyO4cMnbJuz1ZFNqjbwAzdNzDtkgZ5zz9n86YnaqYnjyYxgbN9wkF+s2iUOuEHDBJU1fs5zwGMHGO/2DjK22yJmam8XDoQ0ZRF9NCIgk51hyn8rRkelh57ZE/0Eg03QmwNAV0hxMUcX9Bf4YCzqO9qxUih6aVG4O3RLvY6S8Ni2qNPsSgluDnyQ3FGLs83MfivLlL9gNZjLvzAM1ANU85R5Np1+dwMxgM+uzc4V5ML557emCflRFOsgfnfiCfiGmlr9f9HSvY5MCwtB0uCZUDy4JTTGS3j4F7kJGmq8vt+Kpfwuf3UQyedJ4lJcmO/R8Vl538CmTW+8ghXWF9XawyBE/MvrWQAcGyDcBYUdnEvE2Hq8zxQbKYG0OjaRLgHVsT/OHMISrXutDpF0jWDWBkjStAUbm81MGx/769ltJtA7cdJAfbmeYRBVbdGt9Ia13mCo3cyrB1F64pLwSM1j42sUShqHa1FFnYK08Wc66MohhPf7bymc2Mr21mqSzOBdCsV8HFH8X8Iepx85SRGeVIdGIbSAPDx1P/Zt/X5RNIddCikQydRsSQ3bxBAawr/NyZX01kCny5LP8hIJ+mCZ0rGZeI0hXK2l4up/XZaGXYyhUbH+9ZV4qraQl7AEBa9vXb3ehexsewJ/QzEUGI442M4MzSeoOdOM2j9d48fTGCwL9n/LlatZYFGY9KeBRybCwS1saiEc9emauW450BMKVs0buV+sIhNyJ/V9/JSVIMAEiV1OI52R89I7KDkyU0PCeMKh2MH012GidgGhNx+fK8n1c4i66WW3da+TLyCBksl8ZnL93imP/VfClorUH+y7Qh5BwKamnAslzd/ZDgrkmIYh74cySiArdf9ZeWa/L00N5PTMdJXY7DKJ82+NObHNy0X6AKdrlN0lWWchoqHChRWhXYNRnvIW9Dzn8fXmyKAfDfmi3ptNk6f8ovEoVkyzuJWEQqGcbHd8KQWemYCU/QY6jZu+mePLUU1c4pMr1HgiXiiT1tPZ0+tQgqbli+amyzhS4wlSouep4jzzSTT8eVHP/61AUh+Nj5avbD2Gm6ZN6+RYavcjXNt8bQCMTin/1WpN+u6Eh9CKPd7U7eDm/Qt93RMB1lrTrAdFrn16+HnnQC3Qu44Eu/xY0lq9WfdNwxPvAeDtsqw+pP7VbGoQzcO75TploS6gxkM4h+riTooozGniFUM6NX71pPN/+kOKz/2XaorRFsjrZPwS5vWh8BvCWsVKaLYknNnf1PdbCf6LqJKvOhAvCPgZLd8FRcsTfLqf7qSnOJGtcaIV49v7qO2pQXndshVMDCXEj34LvxnA8G2q1ETUW0UacEWMIu1BIYZiPM9MpKMqlsMK8DIXYupCCwqJTerbql0kp7ZuprYYwonOMIbOQJq+Aowp4hm54wupe8GwmSF+EJaL+ci6y+DIXjpSOeAZ5Rh9/pSOWvko9HAajrB/l2ETm4ZnhFU82ig6Nn2fNoI0UbtdcnldmWci1Rba/jRFSAxDyR7UcAQ8oMBlinjhDCoccE0ft/rU+1iJeCDudgniwS55GpfItlr9GLBu0yTWWjxCFINYDErEJ0kzkNnU3D5ZVwC3fXsrB5nI/ZFUndTdo0PnOAW9s3qieWDHdpq6MEVoB4WiYUOuqBh0NwveIbqt6jrq9ogX4C3xqNz8k40f8I/mpPUGOR25UQCfaTekiphegRjEOU8kLf4wNxdWY5D3R/rJYCrJF3nVCwX5nF2FGZtywAe+S290KHLD0hbXAZC7l2yVT9M/YzosN7o60yoOOgQLGvzL0D23mOu60/Y36ZRfYDnsOGpPijV87IwiQENYPIQBXSYB4lTr5ex1JnwwOhTop+3bTOmOff76HP1olIwHqKlSQAIvbRYwsA4GbB9C3D3RYXwcgb+8PwdhpyxMMeMlnT+L8ogjiosvliHkWBzPOge2mYUYcXSpE7PKiPp5Kd+Ql/E/6hrYF1AyZ3i4TqAb9PWpU6J95u/6zcYkl4KPPZnQ8z6uGzHIm1XAx+fUHRjoHVtSKObsUzf3CcmDfnUIMCv2pu9vUxrMTcoDj38i63VO0Vn1CG+56AOe9db5g/6AbY35lPS/ODNfBX0GdgZwd+EQgwyTSX38I7UhPFYi+CE1epT7Mozs67t9ofJ01nIQDN3xlNs0LBYXOINtXj2bT/dONnUag0I/ebx92VSg4CxN5A4yKZzpryClo5ADcPuAthPT4gQWbd24/sqIp/5rmoKR7rmDNqvNaTGD3HntM25AgBgMk6wl2EwGtg0XjumyfoWMmBRWwV1AluLchyc0syZ4wnaLCPSbbJ95jHDXucHarYQSCQh9OLU+IYhiFsb+fgGQOoBB9ALK+5ydIWHpGfdXI8/mJPG6X5EMpFig8Qq2ChKGq4GlHhoNmX7OibIEKWcQf3fnhk2sjFQdA/B7hdvv07Ec3jigpM2SSnpdpPqCHpmKbl9SuBvpBs3fMpqiiutEnLdHsHdNXPYFxWoylyVZP3EK20VfuEgrVggpkECOcoVoRvow3Ogm7WlduDqUOl4kabRdRSmCjFB7JTN3P4PqJmnpwm9ops/lEugaTGu1gPAkuahTjdXuS3P+/LiymURJ7qX0QCR2UjLb+4p6F9Bi+o7yGemEAzOkVt4LKcitnjRZBqgZgJrVrdCq5Ucekjc2azrGsWfKktUsEeEf3n8FlBkcQXh19j037Kx+sq9fhfGHQwn8UcckTan0mYJwVzsXK7cWdF7gQhLCE+NlzO8IK2MNQjdtaIiroYImb0doaW49/8HZ8yNwjCl2in1N/UEhGf9AR7OmeFom1rPJNGRTXq+/JEPJZx/dKxtgQNl7Ob/Fj4RlznPmSbZeL6JKWpa3MWFp3LasGrzN7TRulslEh/5Yi4nzyqzD1YR5Pw2D+SyucFn7O3bIOEN+0qfs0HSVOImTK1udpYz6bU7xnlqfijk6qmb7J7T5RkIQ2fPmHQxuLWzWuOT3juUOkEOAGhPRxDzvEA8P1g9QWP+jAUXNUMzqKuRCidrAMvbujei2H0YtgxoEwMOqNgUOweyaZtvL3uSlHP/iKUp84/oEzymsw02v2oXlhNY2TY+O3jo6ZaNZ/rB1sTdRL+PCYSqXqqX1lXct0u5SQxBRtXfqBDRC8CkAbrgQhTsygo7Gzs+kFeXcnwP2tioGnjEx9mUleXbdst72auBY1dhplbnByG6LseUvlmeSAvpCV03vP0TdaA/k5P1T4o+uQHXszyRqZTzbfYkviT83xkcHaadaDjRejZA9WjfSxDZ3Ee9jD8i7eHRSddb16R9NGlVM98lGbI5723afaLxbRIXLHLgL6f465CM0QeIa51PMmHSsCB7XC3yQE/GkZs9KOvEqjwXu5UPTxOEs2Tbd/g+2RyHAh58BPwCijiPF848vPOEB/F8jYbCM4ETtlccYJ8iNvCM/5fSsS5xaJ5wXLEP0NEByLj+O7Rf0iEZNCkrCSw6vnVgzoDu9bWc2Vfu52OqN88EKrL6FjQA7SSiW4qaDJBn5/F8sfm2kmd/5+kKchpHt7atWDTotKaUvLnHX8ShvrEFCR1k1GptuA9R1hduvbCirnX4Xu4sJC5Xm7IaLJ187ZEkrqWYOcstcShNbJ177e4Z8KesZLTdGYFy/2JpVo8tJs49dEKx43PjHCgKXDYOipcfu/+4nlctBQBo6+ZZOd4huogUjHm2g9zBPtrkSO46rS48qnrschgln3Jz5Gx6XLdRy9dsdZsR7tYY+DyRmrLy6a2vV7npTrf/Kt57O2VGWkzl97pBnZvW9YL+mdptqKX0vSvOSWiIWvINwIXIgJsRUHFaAgG4YwY8w0oJELMQVEOnfNoTJSSoEe6CqV5hMw2C+Z/PVulSCB0GhtTJcCVGy/UtI//8uTD/+yYvRazKJ5CUoHFRL+0RKOZfe1cBvxCxhKm24PgRQj18reaBYrLR/BgCXHZdJML3VS9Wxo6MEJIv5GER4fTCE3f6H9m5eQaz/745P0AozL9bBfkr8APS+fkwIQLYZFcGJFFKSx+l8tPmz/JXNAzvAxTZE0O3S+CxTLOJWRQSYUjBodQOkAGLlyD81M2JgwKzExJxtxIoHzoSf7wPyS7jlCbnTuaSwvpOVgLd/rITcSRxfp5ZXhgL4mu57rxR02gCPuEzMalylIuXFU51g78w9Of3gT9UvVjXu0vrZojdQj9JeScB259pcv9vNPWM7sLvduGmAK3OMrDsTPyb00Cgd9y0+5Ur69W71TU98P+8cn5cIbptm0YTY/Ai69pwfgwMv0+7N6uG8aVJdbJ9QTW0ksWEFNHR2oHyl6sHTJtN21PRUfWKKmAP/N70WumDdJ3cHKs0t/Gtgm8rvfNRDVofJQK1gBUFvnoqPxhjgPbPyujWjC63SGi0iH/Zp1BVy9yfQIUn/+x4sy0/Yb3NY7a32qyiFK+lSePt6+uuhiwtOa1HfATuq3gKgPLb6aanjIgyAp1HCiVifUVG+HtcSPRbZWfmNYeMNrWQzMI/9LMLAgR8lcURpCafEc0P1Ee0hcuzd75ujvaN+WorDAGFxFqdk7Cf5VpOyMAiW4K483wwuBRm9NUL5JV2YlApljlN4mANc5mkVzB/D04XCwdrMXjyCd7YFb449G6vmx2JT6KhVI6cnF5ECVXoUsxiO7KWOY0VkhbQ5Yz71FDNMgrQ9cTo/Danv1AtA/RHELyQJM9VB7snQT39PtGM7ty30sjzxMN+7YADuoywoVEeRmE3BdUPbFINwonRYqGS+sS3/is2KnGYoDZDCUQThFRSV6CJemEo9J+h53o5IXecKjip8fIDqP3Ub7bgqU9/93ecIuNabSAgY/CroMF2f3bqmWUr6wzy/SqLCtslYrwffEtcEDc0gOc0hqlgarqQmIgeyyJs4zhF/eIyKFQX31z4YXMkwQyrv6LRwpq284PJKhd4MgIc4YxvTtQHMKkHUZ94/c4w95hv+C/KW2v2H3hLUWWz0EUtuAgkmFZYj3ZDBkjFSFGmkTamFBfJpBQceHt52taaVr6XKYx1LuqdtCJxtdiefMXnO378eKFfc99MhzmhiSogZwqql7dMLyEvah3+mFgMKmPnGXO250XIEpRXSYY+XBlK9iujyI/0umH/YB9uv6Rl48U6dBvw4RG3Tr2nz3eS1o4qH7roiqoHzF5/qxwmlebCMLFcUcKms8Q8cuKlb10EQxPST/1GiV1SmbOfSHsWimXSL/anBk4ixrlTp+QpBOXrl694WnmobzFJPbUxnPv9oVdmTBMM50vsJXlecz9dvPlB+sUTU2sxmcyJUPepAsseC2OTTm8C8wYCsY4gVDgVhzB/+ukjKEtcCgs0/kUz8Fk+kik0kR9WPHnet0YNcMvRz1aBtOWRqEX4TwDsheobWSTnrRMpDGbqFHV63ms9zChN7JmznywnLpKa0JCBRmaCgeYtpa6sJV1mfSVw7LMMRj0QewIPM5v9sUukLsdI3YwwRzMzt5OYVtKT4sUd0lWM0nhoZdnPiG+CzGylHvbHj1IHeTnV+dBod+GAUaVgngg2m9qREXdDXgW6O8bxj4s+LVfEpHvQ3Yb72JRnd+hJTSCVqGCCJy3gJwt1cswPNumQQh34wj6cLiB+KiQJsmX0DtWLYbKUMRw8iN5ibC5ZcSzN3m6r0h6Sfozmwoy6GQFSHuNsBH7mtwtcmF0kBzp3UhnDeOZsUsTec5iaxNAZtEA/pRswvwEIUjLMs3Uavg+cR8G7fx/76jUU9+JPNTlyPGgyYZHYrcC0xe85PARzGYyzjgoopyFI5Fdg1ieEB8mQohqTq8QoI87re+3Az+d9zQQ9UiedRqJi8nn46Ve4fSWz+Pdk4c/0b4gXBFkF1kfMX+Dw02i3vUOEjltZu6BdT52ZDPz1xIKJ+iCRwqziR+NTAAyCyP95wq2pBT+dCOIEXJEoN6nV9cSEOPa7SfbrVUlc8JYp/oH+2To2GTQ1KMYd6nXPLnBRV/ooD1bKyPbAQf+SDUKGqC/7qnEF02pF0OFhObL2+pGazM9s4IJq33vkO7qKcuCL4Uild7vOnEMhg4H6NiWksOHW8B/QzGWxHK/rbKwh3s4LuLCgVC5gKiDO5AMKM4CGYE9Uq5SHdO4fg9H+nTVXQe5+bKxNlxc8jSMEgKacocHUgvX/hAhzwMUY5mnI2RpzDlhQi/jGHbRGelp5F8bS4FXIN7VpeJBpKZXb8BH0SQkAxvwU26Jwm+3ozBTF/VOBZPsssIc7exaax5FVek34/eKA7LLxu/zuQ1Xszji4ekP8EjH5qR/zh/XDjhTS01iIWQTEhM02yw9y3Y1qfQdVWGos1//lMqJGLIP536UOszr53kxu6Ns6BX2+dzI3oNQYDB18nsNSS40y/4AvCaVklySBd/2xRlu39JktoPCeNda/wcME9/cxKpDtMW4lgqLP9n1e/2cXTgXRJlJbVAiCwMA1pVx+xghx+8A2JxmMWpDZ/bw6i6Mb265Q48fK2oD1Fl26r4FpXRFsJFGfiuGi9hSSUVrw/vDbF8U7FMkvonxOPSA1uUkhqc1hqA9+SBxz7oh92ki/jZ5HeoMfYbE4ydSd+EJILFdFsLQgM9CU8ZxQPSF5yotDSv+EbpO+FX3tAQivBpy6mreKl63Q73wZDtoDok7KjxI/ZDIvJX8NeuLo1YGj6prQILqzx6UUKmRi9682vf5gQ7jSmFsy7F8t/N4EWN2j0WR9nTMhKvXnlRG+7xdD4+ioQkyoUYgKLjZx/27GSzfxR6b1sX02Pdra91UbMD+kP3ETXFOw+FrUGtmc3jh6LniL/E/xG+RU7QhI6BCHVQbbVr2/OEkGRVnpwFEsX9uGr1zLt2XBiaQrJhaE2RZmAItFrFqW5RbEq9IDe3OYaUOsfhtEXhQuW1QxmBgMQqSOOW6qzkeqomMXC469rI10YPYpruuCaep/mfrIyneaH04LHz9EEdlmD3DLNvgjoqpfieW5GJ7dKHZDUnpq31T0wZ+UTV7yhyFVbmVQwKLzQqZ9SYXhDE3ebca7mad7CjTz4TEAcWrjyKgKEyYoyIip8s+uuGW1VPEpoWMd5ADdtQjhOZKtJjOFgUP0T3d2hOIu1+NzQxZRcQMGbPfV7GJHzOw+Q+6qaLrZeT4K1dRphJOu7l3YNIJyZioR4sHnAtYLl/ovDatfSUhST8+xtq7SKQwneInu+qtQMT5LvWOZDcCOfS2czH850QmIbXm8KxBUOusYSxT2fHhvNyMAjRVBERV0rrNEbZXuszKQpeTb2YZtFAg2K/oV/fagEcfdy0JoTLZJcMBlK26WIyh1aouI4HJ32xme7bFYD4G34qdwJKaJwPOGcnrUMEgLg8ZSLdiC7VQYBjR4eBS86XRigJpP3Lx0O5v8+fnSqReSkVLLKUS7TC3IvzvQhIaeIt7L3rtJ5Mt7F4PXi7I+7CZIG5izohtrpoA0rSSFk299K/FWToIl2KhUWtf1qWSS93FJj1JxQveLGnxJsb6Oa7ZrJ1ACVzCva2uylxZXqcuWVcr9RnjMne3tfBEBLs/6WuAh43mLUBWTzvUZQ+yg8ji+er6QczzZu997KZ/AE+6qTlfbZqubxAjc1TOSkwdTrujyTl5xYhFaac8rWT3E1qDq6Ut8kqqIKPhpq2OcCrmSHE00i1etX6J4iDp2mUii8k5uGtl255p+jgKp6pSdpTw+xaBIsAtfmNmHUgxGmt2TEk7NrLBu64PZ37+LoN8Zf1L0eHW5P/1Zlx6E4i8O83oJjOZupIGxPen+Utpo35c/FTKoN9/favVPe8theMQSCpjBifS9U3/HKPhqxLSVPVi6jl2S0Jt2w0bvAi6SXBn1oryKzUJZhQFSosMDvAkCzvnGr9U36+ig0kkdygmxO96+f5wXxXCF0NgoePurQMOHlFOdjVVx/dDiSUbZzFv5tPOwqQ8fYlBJMYUs5Z4Vv3DbwfpLzmGN/Bjb4NITXCT0Nzfq+AOL906VQEhVuydKz131YiyEpDGD35Ci5r+eNXHFx3PlWCJVRBmoasj9aNjV0/j4Q7fRnFSoYg8NffKOO83VD+5xF2PdJtj3NdM+QZI3PMkQ0SpvnFWa6d1a+4qxUedBXs/Zv+aitZU6UAlpQm0DVtWICmEN4BPLxIbIeVd0AnnUxqgCD6Y/8MZLX9HME7WtBDWLm7NgpoF7CGCuxBnx4u3TBWcPL+e8d0y1kRCQVxLECYlZUPbjbrtDIW/C9/FLuu8HicDZrIdVUNlFTQmzjQPXpWX6bBI6ub1tOfsYiI9dqgMrAmUlcPg4tAFNCdLbdipadblKuA+5/n9RQrQeHRlzmKKEQLaLrkP8ySd5EGaE4mlq5U/WOFNdqfv3QygkZL2Nf16tUN3s8RNLlViLcv07BkBCmaTliiuYNiALdI+NhCEl7PGXV8BH0ybEPk8cEyf8D3XIqSfbPzyKpX7OG6fKM+fmFlFkpZpmiVczdCzUVxuVzhlin+Q0DLP1ctSv1IZrG2wY55J0syAFWSOGzPtqiHt9blhLQLFt7diYeWz9DILOKnQxFNcX7O6P3xGFPKtWqT/tZ8IhF6tHW6j9Qy5S2DflsuXjL8k8UBWMmWqDwRk4kfuv16eJy89uwn935xZywC9LaqOzNEXFsVvtAaBebj8w4PsKS8KUtAHC2MDU8edTGM3u68Y7W4PWO6c90jcidTF/3Axg1qE4vZ6m9F72Tk9/4piaS3zrbslqLmpU25Y5K8SWHdqGins0Favd9eOFVp9fNQilzyjw5c7L6RAYBzCesQxblX0woxMKTj0bDgvRoUZ1JM8QEbXBp4Lc7wUsXUdwBE9Dfzd99hRVCE0Bi7LnxgxbjJrVPPYWFXpqNnpfvRVvodTW6BkOVZ6i5Dxrxrngwkf3h5Tw8ziPkoNllqI+4UpPscWTWGKnD8EVFmkhcEyHFh/5eaavFrnM71TXl+wjm77KhTqRGaEiV5+zJw1indorp3r1li9LMAkAGoHOK+t1iyXH9i6uTAsibcXJdymGn7YsTwdPM/xZIoVYBeZN5OoQpZ8HafJhMNQrwRfbSVcKptGyWVDUSLUqk9GFG+y2CC77IoRwmzK8aGvew6zBu6CkOjcAqyjZfiKdwRnmqW+LGE9VUWYRYJucmxx/CujwwrpYYwIlTuEJp7RDeHQbDGT+BiExD7vj3BHfUU4xHKgt+WzYQQW9Fd9TTVJeel5gSVGYIzzCZ1XL2HGIA1ECpQK3ZufJ2wA83lP0wI6z6K5/qSn0BTvSkrw5Yx3LMulEGCN9GVcJOIWYoN/kGd7jIpsAUsz9vZi4ggx/Dd30K3zBfDrMv9OlRc+/jPJTwrVJfxFUJw0B9iPyjxzGaIU8c+wRKMmjZFAUV8cqW981D7Icp8s1f/Dl4SQGfTERy63QZzhGCyWY1/in/V77Ek+nnVxFMOCG4Au/hdWsCj6ZineHYq3jmA0VfY76L0UZN85CZDVvz/7nRtBOQq2dga8dEu9jCuAn+PueY7VlI1ZeWgYvY+wfPCGLS+kZHxc5d8eQsCLi3zFq42r0Y7BdRJw/6YMJ6kf31bVWVntd2k3siuEE6Vr72S19NxN9zg2G/wXLpL+VBGwR4wfBrNnSCzBd7QiLurp63iAlCxsgBa4FDmoabTu8Q7Q/0jcdojXb9+bFMbHMIZtLK98h6jVuUlbl0mD2c6jiEklIWNKbW7FA1GMMYqR7bqYGGbxRB7d3j0sraieVppOaKoRxDGpzDruLLTQHkynL9d0wAnex2qYDEv1IhU7//lmvWl8Yt+q27Z6JVnJOawjscJ7mw92OMTci6GBaLoOwHFF1pkfgIhny1juXB4WOMY+31vU7cpVGn69hsC5U7+KJaU9OC+AMoaNz2zrFgmcPw4gHtllpNyd2KDK+eWeB5Ujl4jpgOWL6lRynREgvCY0MM/CJr7tLBpIPat8JAa5ESdLD30PjAhnFZGU9aYo0pF0gl/PROep/kl2ji6DBghxq6lvOTyLbtwK9CWrPz3FnNztOgVgW+mhFqcszB7PwO108QD+dWPs9nmbYd+VTY0pU13NG28KlPl2BwvHpngJzSAu77VvrMgTEYbcNa3rWVCsclK/RUCHH4mgkVTnuFXWjTc+bOO6fmD/sc/fOpPfMiSffLtiwNFqp8dAJPmJ5TGJG9m8aQV7JfoepnhOwVn3VcVXWlTNKOZ2Ho45JVdtpHUdwu1ycYpnQsuGH5/5WIPHag+KaWbsTLpT9FLi+8d51Vq/kMf3+xwTOPMim1sx2d0BTlYvoyFv7JVZywoRP8Jd5Ikxi+PecpPv0vIgPqEAbPdHere0nIrPFAhjaMGepLKtg8NfhcdgEZGEanTv+FsyGErgvQYHKzTM9O0tF1fuRZ6zKqhHs9ltrgTWK2xrOIaI9q3ULbUWgpj4f4gMKU0kiXoZJn3DDAiZjm88Pns1eWa3fJoTzIVosxYbp2ZEE3k96iIvShs/6PYPr4u7JueFsPKIL+hw/+tigpRhYDCXT1D3Qr5OdOp6Eb+F/CHJmscrAcFpD4n009Gvf0sXCe28wALnsAGsA0nFqxG0HGW0hY/zegKQDotGxGwmotdB43wW9ejG3VWz8QrvBc/mTl5+0mVtWxthCa21kMm9MfV4baN1sbWBko23ug6wrkUvyUDMBIie6SNJyZf6BrcdqJDc9T6c8O17R1KuD6cx4CRul2mNQo3kRt5+cUdr0Rn+kkoG0dQH6rY7o++9p/R7zGpqG1oMt9VHVh0BqmtiNZFuTX+juWLCDGmja5t33ixuyh0g80ZvfG48AGMwOWkPGVTpbhKlIEce0uMJM3kueVKz9wBULQOMcOJFpLovhzeoPhtGG7/vv+fSxeBlS4U2pL48+fQinP6pSxfFQs81tGHQVGB5U2BUguGsdm4FBzTVnrqID/WEoJwWVs8D2hCAN3yTb+vpt+N2cEezoC72hZy0owjtOV83UXh+SI0W0za1OaRI2xj4bcV4a4G/5fZPJoIkNKTcfgPEoHtvMi+TdfHOOfHd37uViOPl/8MfLYkThWjdMYIGw48NjdO2odSCLYTTbXmtiFX8ylijFZwB/wULqu93UDdcPrSwr3TKHw0gm/8EIbniolzxKZgoacQunNrxU3saidNZ6Ympf57VneV4j1g0M3TBMTfOgETwzQFSz+6XhZD0iKV3jFHBNwxBdKHoGtTRTXgOTH9e4qkza/edsQsG/eDEZMMXcC9CE+Zv69Vq8mtXMDQGHfzVXEQ4YqkHSHZETsUQbJJeYO0DsbY+keKBfqBEHR6mFzNIaFv52GLDbBRayoo/zjoeXe7j65YrkCd2DoXf4t8N5lhpi263sMJGEONUoIUJjO2atxSMts2eV+l3vngDpdSf0Pz08STmaktdhRjVe+G+VoO+66KeRN9zJqVo2DhMgWy77ja80o8unobpp3m+pCqCqPJ/QbVV8/SIzPPtuRted/qL8Qq6hmCcg3RaQ+h5M6W9USMuxKCKaSa+s9qX2Wyu6M6Wqazp9Kh8kPDno487LfypM9J6faNXvh00+0Jc8J6Y46cssA4QW2yT8b9tE0JbAmrkUx5/ZlSG4iCBi2dM+N9gzDm7kLQa0FyqSgkVQ4petleqbX8Z7WEkwJ0/cDYOCn+gkh3dHWqOpu4S7e3OE9DAEteOHA8AlMMFYBUcYnDZxKGISnn7dnoJKmnhQ1Ql1nSaj6QPBnWHdT2I+rgURbOmy8/ZTP3TXedj4R50q4ifFnI2/LbGpoHJawnpTAXHhWl32ZtZiCpLobQumXe9z+5Ip3mlL/qDXTrNkONveR3CNsEwf+OPVo/mYZ8kqk7SflHVvL4OY2rgQ0+1iXy4S17E55T+1ZVtdmfS/Z+1DxEB8pSlcGPlAdSOz7EWQufcUspSw7q8DPEiWupHcrSlGkvyRmsDArPwHjz62fpFCJayb5rT8u/NYHdGn8CklUUYlrO3N7ZR50gsd4hQSHhAy+IfTI9kL6m5nE+v0Vq2VxL6RJpo7NKZ71Gk7/3OW5hwJjKWn/4M6hBa+yzltzW+YS7STwarn0r2RzEf8hyl1mwVYGeNqCEm3UxMkmAIEjBbwZPt4+KUcZWvo4vBUTaOevKuXWLH5DXRvDhcMUvJEtHIIyFYbfx2tvE1HVEySegxt1sROA0OkzOfG74WqMyKtQvZud0trSsHPxCVFGeoJw3NV5eycVMJx+ouX4YjM6tNc7Phw72ns+/XXpVljgL4J+xm/Tahb5m51HHgcNF2mNYkfwkOji2/GB6RxicabQT5lYO1sdO5FaEmG/Ba3dWcpKE3KP2nyvj740HGKvJX5xjwAoVtobABD16FnRAkhrJDtAeqwl3V7LdJGr3wj/W5wSW2dkR2bMX6mXSWU026Vllzeq4WZAemq7SfSwZoL/o6cdSkswEQpCeTENBmwj8WQ80OiK1OcVx0E13F/tPfwcJTfuRRQ5FIOeMtlFOJiJqpoJ0euq83P8rKBn8sYD6MC1It+1DfCVP2mnuDGkLtEvlODS/MVF3isWjfxsHIu54V5JujrmCNsDNOnZCVLhutzOWKFcUny9XHaJ/Fhs9CPYVYSvNRn4ZydVVEYyK+dQ/Nf6FMKlMViHLA5IrEIePNh7wF813qVS3PMc/C4tKgxYbCpwUmBPoM3Smsp5hPCzv5UacoFLGjiCUSzRh42JD103tWJxewtNp3R/WcmlXcHDTa2jZ4zgjRNOpw8FhIcZvE56Kc5P40YDlsuf8xH/xfyOsVANaM+Ni483/metmnvenFA/2hcaVx6kN0pb6eIfrbdkj6oDKNeSYcJ8BcR5Qo9ZNY1qotehuqEpXbEblogz51tMH5zrJHSRUPSDLFGiL+v4r64Ix2xsNK1ZJVE/a5ePHKSeoOUTeDnfGX9H7nwpMMAiK7GpQX3eqnHewulYulMdgMmtoR1QtxojyxpL/Rw05WSXmVhYapgUc6ix688Kk1jmdJJl3QAaVLhHNmTiFSfkSyY/9APv/OFNfx2JN7ZKWnPVM9cJaom01uSX2XhbdF3bZcMZAtDdIPHY4dBHpSrt+6auBx629zHgxz4qEReBeKNCHpY2p61ZNA8WaBpd9cK2QFlz+HZm2/HpCbdbFmaVjgwIwb2q0FcL9v6OcWE+EiHWiifG10bEaBm2R9QhLjBNuVGoL0Xmvncp9L1c6TkqXnnvTBf8ZQhu/IWnCnbG+F2eu9kFlXh7In+dSa60FRWKPUUKCXWevBIysECxBQWXlLqHa4udnjuWgybYBD1Kr3t4+jsY9yAJ3oRkbMeBVnTMSm7z44mgD78C+3utZMoj32S7gZeUjOuK4dmz00O0hihG8A1z0GcMjrp06jv/xouNlJsOjLvkO7X8BnqTwBqhlpvJUjI0eQUSQmP6dsLWrS3jRn1j+V69PLFYEgwrCc+gk/jO6SWjrav1QthnTiK2JBW1lMk9w0JEFrgb0QyEvc3u5A7MGmgCy4jtJ7ouz1Gr3btHe1sU+pF0DPD2R+TQtNgLafctVUpTxeaElVksJp94WF8PgcAu8Islmx2EER9+nX0GGHNfL1w3BD+zLom7c4iLYlnbBtvw0tFjudpt/vEN6Gml/diZBDPWNrQ4ZUDBT6nDsYAFwx6trCIv9J7fVimf3HN3zKJwHJCKqudFx7Ey7Vn1f3mjBoHmYRdfLTH45DG+lT1XljstKyFmekqg0IPRpRQKIMYcrYeOz9r48QVKeW5Y3C2rLyF4opSapHyYoi+2eO54xSeEhMnIKEABTNsnTVbVi3+bT/KcfBK8SBt/PxJDmE0qHHu/vaK6MpQOFNbOdrbMCzuTH9qAi2M88ivVE76RR5UvYAgNgN0LGFLGrQohg+RNv9ZZcnen4Nk7qlhbTFl8SUcknU9FLrPAoN6bBZMzerv9tuUTrAJNtub16wqXqHmcwXblA0dfdVWvTlBcXTmE60EkZwnF2Tk7AQ3aCuntWjYZoKU7rbCEvxirT8BpPOufs3RQi5xpButC7e2IwWspNy8uSLxjyj5O9TDh4aej4Yefcrz/ttNu68NSVxmYRb8ER3QltoJQnMeklfV4AmluilA6FOvQsWrZ2h7c8xh4Vy3OXGplQm0nQ4evB7R145Mk18YBgnA6UFUIJ8+jT/tU6pTEIdjsRmGNozdieFmAQDUJHIfM/F41+3cRxxNYVxcxpXY340Oq4YSRyCj8P/BCd4wWvtcF3szhaMu2Uwlx+iz03QkYZ78/8Tn4tYot2Q80m62FGVNGPg+od4Fi6byFp3QmWBAKzmQT1wbxAYPflOmCrxMHBzRxXVLMFZBBFx1IJZuSHMUyDkPpYp+MaGX//kpIChkK1ElLtlm+PMNGzOL7Ks047Bg3kB1OfJvLBwyKLXamZAOMam0GB4sFumRCWueJPw7Brca1lzY6ChvB20jtmc38wh04nHtj9sSMyKAW0YIl4e+zUuRF3OPkrxMF24ji1J+UnzJKqo8FsE9etZmMJjuaQFyAyB4KKA0Fhw4WOAc7LxeiuB9UmVAN5b+quBm/HKrXbzlpN7I4qQ9xz+fPaJpD5tJqBRZex7NnQBZ0WfDIZmbZhfOstAD7r2rBRbGe3VM3H/PaB/kGTaGpcQXmSYVaGMRDNEUuZF6yaMbR6UH+qcz65UaM+2GEe1nM4YQA4SiriCes6YSPp2BOgh9qptsORWyk3jhIfP92v5YqxdDqmcxMG8UyhAy9NWa1a/IMMOUh6zYBpYQNzNE/jXa+/pHZR7C1hrydBUPecRqunmGLa30Qit9XtPsubdO3BB4i8oC79h0angRzPdIKKnirKJJZaryk06qUvK6U8Dcs6YayrffTyz/2hwqlOdvB9Lpao4Zn3l0BOwkXCAqmQYDuCshnAGxtg+L2IqqKESMYI5n+krnIJWTAlcyqGfzxdBreO8hOTX3EDfC+bXRIT0Yi3pDayJjCa2Hcyzibi81hPuouGvNNg/54L1zdF2rBzt+qUrLgQQpkH46yAglJkphKGSg3rA7H+GBCm7q/InawYhCrQOX94k6FQqvRkl1bBcqg3872hNEOjIHh2MRAIOt/er5i1CI4ZPkX6EVv9PNsGjlq4I00CYmzcI7jK6dfaa7LJQq+OkWIU99M7xj1Lq04yoSo94Z2nKY1RQ2TrxBuy0csD86Zwd64cPrfFJYER/JaInI6ATGS/E5DUaIQ4bJ8+Ry197NEbmzxSx95PyU86I+hEflv47ZKc+TV39d3//H9Ue5AToVtcYZ3vENqvxIO2rVw5AE/WM24UT0WHuHv+zUQLmDwA+nYgfP0UHisls5dTAKV4Xft2H67md6CLxwyFkMczestBQXWKjigcrcMkuW0v/nc1RmOWaAr+4cuQWFHGa+iW1+kCVW4hlifpB8qVE7sKeOLGfIGWmYoWnMqCrbf1XfWZ3h7VI+6bsf1kNI1c0A+wqUR4IoviV/3n1AAyCRY4RDF7Nq9hohXr9IIex/nZU9r/kFgRxonveLqmOaGfWGX/sjIeacMGbfksikC2NwiLasocZp8EQY02HyMFft2svOWcA3Yoe9jrDpAjQKFUZgNETtlujIa87NRhBPGE1aufo2Gsf3BrbvOmT6pJ7Rl7m8qjtPrHtMEy0ildxrh9oyhaoeIlGNzV5kQDrFv8Folu/ng23gnQjtk3lSFzpO0AALUO7TqHKP5G42JnGXZruR2NPXX/ZB0UivypKCenALT+RaHY/MvN5+HhZoBSn/lpAQ0cG4g3TWzJ3SDX0f6xhrMXCQFps+RN0fI6DUk/CAflFUDGRQ0yUpombvvXr8N+x+s9Hcbmf+RNglPuuNNCNSkLd9DTSBRABkCS6hffpHgCEraIDgMkrH4K4rmaNyQxyB9/LThSz4G+waTRr46psdIYGIznzub5rqwShnRQBQjIcJqbk6YaANiezYvdUql9BJW7xBFuOEK6Vd4hhLUwJlrlAtcaP0dma41lS1nWcE/omFeAyjhqaGQyBEGnywxM9dCkcaka1sRCko33fxaamC7O8/NvKaTTrGYTcSJRv5lFv9DxSzvu1QgaOGwuxzxV1oJL76GwhWiYXjH2TkTtVCuqlQcV3qRf7LrwGVf3FSRtdu/mW/q5z8KvnXL6BFngY0d9vPxu42yxnFUeFpmpzEclKR0cBqIbCYyt2T4xtWx1PqGg2ztpzN+3YIH0Uo9c2knZlgbRauAnY5IKFoW3A2uMNK7P04Pf16oRHa81KuCrq46/2OYp0D/sHA3BhgE1oYn9QOpR8oyxVNpiB9xc0FJC09A3bby/wErF7fP7LEpLNN146uVp4ZQq4D4Wm6nu2h8ZUUd0Z/ROu6p8m6BSLnXk9C40mlAlKzioOOeMeE+9IKePb6nY9DqXJnjgnM//6I66ykjmty9XZ5ToYPfDGiWK7MFPkWoIHNwCAsKyDcibRyWjTVJNnHhzhAE2m17TnIyFdUhk7VYBaIeOjqRcW7rLXQakCDgRY6OBeHNZgODZIVgZVR2+h58TJo09hyNnpOobgbMwmUtGqwWGMI2tMruxswkpJ02X5H6Sbpv2ulQ7Af7TyPi2f/5wF9Q16XA5u1cW2qpUTN9A/1u0VyIxevbkZe4cYDzdk17k3qT/0h7NxlgCYyYUpO2gq0a3dVkarvBminuBhEj2yZUCSKdh11U3ppx22+H4nxHA59XANCE6w4a6lJHoDaUFObeLXq5BfuhYe0rWa2cYyNrIg1PT1rYCBV3kGmhrLASBVtZi9QgSGT44koPNw8yb7EWrAxSGQQc3QV5qenjkf3JTK72fIdSRfIn2Oj3F68WZ1jnaN06ZIs8Q2P5CSAV7mJS1iCq+44/0+GVeqJmOiq0TZ2m3SODldinTFW2xfq8iyBaNaYHsXTCdNSEH2VWw6DPXnEue/B1Gdh5IG+/MyuMEYGNyz77qAvcodQWkEfs5EqvZlbvLxsUW9alwbiQe3jJSbzBwUU5gN3RVixnOIYa4kLxwwi8uJmuiNVSR91eHlUFRG6AcNpxGwSg9cqyFAe6XQ4chcOUCMuqfZvlXBM32eTbGb8oIa9LCjUIOQoLO75QTC4cNHQjIpvbD/J+FL7Bt0CxK93hkazLD/UVB8H6HANhMOFeAkvnIa21RWS/0rAREA+U7LkPQ9W6mDsCZZ37j7RL6OgQ3B5qjI7DpJ3OYxCqS4EP9X5+9Mg8JGp9AU/xzzPL/UEBiknWj4rOwk/ruoiqvek77pzZzSHGYKMeKxVzFSf0B+5f3Df+VbZblDQnvPli4CugVgORXTN7t1srM09BbR4bYjSIi5B9UhBWZUdraNju86Kqebj8/Y7KKFHGN5C+g+5kI0hRCjRHg9AQxM7NPBNM0LydSloftaJLOnLN0bHQr9Q+JUtzVuLlVD5O9m5k0HSQmgH0JoZbwisVu2oGo7Rh0RtSy0sF+ghWRjFcLKEVFr3c29TQfEXnGpjF8TMh1tRiq6dtIZevN0o0BxlwzMTDMpcumT06hWb/0yLIfQkAXBFoxvPp6RCRdUU/1qJKLO16r7l7zjSoAapBOzoEDkdxkdz4mbBpVx37Ws+HoyT6Pta7hlBJUPyjoji7vqXGtYTqDBrNAaxenliI6sIfR3AZklDW1G6o2PkMJb/PbFRN4doQ54Ue7/W83kMvtJGpPhuyv6dFNU61oTn6Ja36hgSIkLxwm2qPRH13YuHvM8mNpzLCLNLrvu4B3CC+gkknIh8wT1HRvR7hpyfKBnPBwVPhGFzdMKm4BSwzN6V8O9E0SPkk3gJPYZrqUBHWV4akY5dZp9IGx/c5H4hoz0DdKBtVXYREL3O+6Ds7vIiVzvImxhGXIH6mJJYQ78IAf8vUuJ+ycVjlNOxiLVjogpfI8lDEuin+Z3kLsytmNCOE35hsFca09PEY9ewt84G8OxgQp9dhZrtkZvDdYLVXHi+EuGREP3rEEnpe5TpUCUwZjEqSRvs0EoISmdbyZyCUZ+SAXdXDI+ltUzhqeVKdv6u7lGU/7TnKW2MBT5HZmY1ISSO+6C2XLcFMlUEdKwQzBfdsKkF5LI3NDX+r3sre50r4neFLZz7YgmehQhBvRp5hQaEGD/jLEIV6nFDwWxqbKCNLNDh2rxbNbvXwjI8pcvUj33JUxahsvo/C01XtKMti5cGbaS+1bNhXFRE41KqfZYaJgXL6hktVlmSiHJhUeG8ekwJm9mMLPvhUvZ14VGK4vje4A10FHffSjSSYs6d+nynLeLtD2HOKJdiSZmuRdMaGsa5F00KzZIMrFzvQFqW8C4Ffs9Aw1bb0GMBfKfwpD1mRPmW/ZUSfMMYqEgbPf5t2oyPkV2uK70hiEXlB1lvyzADNTiSN36OKzqOrWmd+RgAstRp3yGIqdB2A3q2+s9pjX/nI/H/H5vvHkfveq6aZVRM0e5jKJ/YqRFGX8xGLWRGlIbqR5eZiav5aRW3mnzjT9Gq5+32m8y55sa7CnqPvFgrkfq6Nf0W5kAQ2Mkz302k2LKdcnj/U0S+27W3zvZhdEbCWZtwZ/h7+8935DVkqR5khzo/6PMrvf04pSmgl5Jwr3BV1UPrTDFoiP8R2NJs4hO+MoKd8urPzQDRW4j9Brq2U7PggYwELxj4T+RLXCjo0w2/ChMtH8jhpF7GCoPZNsNEoXTfLZoLHUnrY119iF7vhsg2e8TD3U8oJoi6LaV+NTjDYNPAKA0RQiUheDfoIpKm4iCLpeYts0Ep3WRmcSBgWb4ik6o69hAOh1EaCDGiA0M82yVPseD23BwP6QekmQxkLJCsE9bSpXUV5w/eVlIVlH7uFiKuLJ0bpTze9aV3zzeDqQ6wB43yaAtn8GL3gfacZhx00ttcVPjAgApBjlDUOWlRrtbMNCALvRP96YSTM/AeqAI4ElWq68/C8+UrKqQWj5h61YmWUiOyQKRQmHdsGmntgcAQoBR6uAyKnOPnO+hMwHhTFOmoJaH5muIDVsSSOoiArRtmhKgdTxgo+6HCt4aKACZGBSUlTVKgiLp7/2yG66IuDTbizAHXXYCVc2d1YzcAcUEUlikziGQlnuRf8N8fFnl6CM9b3oFyDPbx3c91wwWQojMagkh+uOglvwHzPY3voa5DI0ROanV/wNyPTkLQFnOHeyn5dd301SLEmpXPaVcCHOIdFSQljp2R4RzS5SLMtkvN5k9wCK0TwvoRYJe32jeCPLUr+cYa7rj167gNGrGYsQLZdrg7L8p5c2952QIXzewfkTyByajKMRBNaxQvJqWfYkv2MqFgtgh79M2FE4nL9Tz2SMqOFtcyupjBbtveBaZ2IJA3v0zMCylP/d6/Y1aCtKYTVA1LasmK0KAXJOTLOS8w/v00MdH8taVUSFdE0RcM/dRCjsyJIcUI0E2zLS8ZNTMDhxP9HNXFutFiwjLBj92XTLmXnXK5R8/HVCBdlMyyYB3ZcRuG/s7pi1cfWwGCXOKLl/9KYx+uUB01Um7SVqvjAZZS7+kfpNtSHXOa8knxpEYQ/7N3V1oRcSFEc1jfF3nDS39rA8oLi6wN/f7ugpvyaUxlN3dTdaqwpDxYtAsAKTSIkZ5jNAfSReTQAQ9EtLJztx9uEr4RL3EZ5MngW8XJmiOsFeRfvjf1AcON5v7I1DTchFro0qibiiPAtoGLhUDg/qRenfaQjFqFXJGw50g/2UZIVeXNJ4705vtp4DbkcBIB7raBy8/8TFrntm2I7ObskHHLwJFBcbCeD0Rydg0AoJkMdCntrwyCx6d4TF4gcctFa94HaJHotZjZ/NGjqk5UgghCwjIZk3yUB8IKla7CP8lq11vRbjy3n41+bmHY5n1d0RxXBAgUITqiSspc5fryFCigBG5nZnOpfxgt4Knzb249uUhyrKuSkL11l4Va38CwCaFusSUM+PocpnnzXYrorsNjB8c2VAnjG42a4+fOxtz0VaHuasz2Kgr0i3dozNCf7B28piksy/FZQ633FwoEuCIq4HsqR5tQ2LhBXbXLhuecQN6XvEMRE5fIjXQMx5/MAZA672l7Ycp9828LbOymS/eqf768pUVW+tT1ne2MAqBPiBCflA0U5fXC4T/fXSSqQgNTxLBchrNC0ueDU7Fy1n6NccH+dr8lKyUMSkood4QZwP1RFiHmkwuWFuEyu1G98YPOwP/yrWTxntHaggNx70+MgzzjHv660W++Npe/0SCIJ9hZ9L2jnrC/ridC7CMy/LXiWyzXBBbLbuBGr4DVkBXzrAqINXtt1K9yJV+E7Vn6pm7803L/dEy8N1hYGdtaJtSsC/+wgV9nVxAmCYltDLP04MwFerKP0CSQ6dArxgHaJ6PAjk9vOBFBthr9NF2MUrH4dyYsO+Ucirw+YAyN0luyl3HCzSKDRueKNoO78M9yTydeWYSxomuAQyYRd4056lMJtz1am02QU7wunGmhfY8p95An3QLtkA+cPbPRT28oOsAppNgjBunCy3VkH9xq91wV25+bJ4EIx4fAuaTrrdmAagP0eYhGBg0lWg3ylbReB73zE/yLTGcMRA0eSwiZuH4WH1iijFsyvXNoSV0PhvUP1y60T+VRQ12beg5aLO8B3qHIEgLYRnDDxqr3OJ7HIZhDz0NxfXkRIHX/2yvtvz6feG4v1XhQgSJygQaj5+wIyeUBYSE9wx6yASbzQYQ7Dq6aqFtPhdO3zNA/VO3VANFjF96Z9ZR7oGysIdypGYBN0+eLYdwadcqLBbUd9dINiEh0qzbLGhX+ACT8xuMLNF8J9l5r096uFKPcKBqR/ZVdXlcheJHeqdbu7ZuFafu1ZGEZaOB78UAjagOEJwieJ27d68/dDe8fxPEZM4biLZWik21KxIaisFEbLUbKFbnFEl7PITloMbDJKRaOsO4PQ4cZNZjWjMgxzfN8lwRbWa5DX8zgy0Ou6b1xKPdINJQAnaLzs/kABs0YlzuTfZQ8cRSwNfvLfqiS+IKEOSv3bD82QNQUyPbRj6/qZjtTB5YiBniRB3GO4pSC30Yn9KpQPvuRhYR2ecT5N0TJu2GlxkLSGNqdfPR0OytRxxjnEZl3fzMOuC3we1vQPufCE3AlXFOoz/+Avjv3ezFmF4piVnWIH0WItywOTJIZgKjkBLMhszsoNqbozLIQKZhBKdOxABbyKngDvEKKDu5ep7pmefmGIhmruerTiBHzsGmvuMILm5WEmihtIEmvokbBqb8b1eeYb9wdJssIilBh2ABrUm/PQv/v7LlsHU02Gr0Ez2Geoug3o3N6ESVsA8iRYqfyXDN+HGri+Zy2DRkVSsG3awubw6LJkF0m8roLaeg66Oak2JLohCwvHCeIKj3rPnHK7XTV7sbNRdUiJSvcZKp7t7GBMjtdOLr6nAA0sFkG2/O0Q2HUFxbw5dlUpXZ5j17Jdr/NcU4OQAu8BM51TVwV8MrJXHVKdQygZ9N5n1sD+iIlHngjSIbsQQeQQZoORVhq+UXjVyOhvZTeyOK/nBtgZ8QUjV3vhDAovxHKheH7fOMM2v/hZyqxgf31Itg/BVmriXRk/j6bjCEjlJPF7hWDUMUmoaMwtxBUzZlhJj65DXJDFeMU0xnOWgvnhmgJTsvTk1TCYJcOWpMyubViJUnkQAjToUZXCz6WowHSKBssG1S4HvJZjBPTUH1JXbqLsxqknNE95tfYRC8Yf+kbTKzTU5sORMV9cIFeoq5uA3ncQ9xR7Jlw0f+PiBaOq+jjaDLAqZoePCIMuYEm2hftb40g7IeJLMe29JlsQext6KJE/X8aNIVMmeV6h6cxfWjocV2nrs7nzblGonlx+xU+vWovTPa7biJuxAw6I0gzYjgzszy0jYUVfmkDCJ2Y4fVlB0f6ncuX4b2656ue0ZQoRs+w4Wz+XJJ4dJqYXuA2Wetq2oyGgrkJqSdi/bO5vqpIfA2x8QJteLjM8bWZmsLqVwjBAAZHp+E7VMFSwxNRmTfQ29Q3FQw3kfv85KyPH0ttucL7q1Mm5AHHev7cH2bzGkMfaywi9bmU56MB2d0DqOkEc9IOlkBA0Ck6yhTppq7rl7Y8DlzuLSnBFTg0qCI2CJi7VPePDn9OFdLEjRxxWiB2EYvqHPQCeG/ICXNygCn+GzWEcn1MHW8AdxsncGOW5Mn3pWHwybtxk7FOF+cHVNJR71lyw6Xd8pVD6D7LyJC5WJ3tt281HQMGHiTISBGSRKTwKvtoOhpgvbK81eRTk/+H404K8GQ2h1N5CB5wPC13f0rsN0zaxPKxHpG28A0QyY6VIvINfpyzWXlSR10v2jK4AhlI9j840Y+WoorJs9rPdg4fUrU9FZovc0ZD2EhCn3lm2jeugfdOiziaHvOy8tamCjqRj2SsI7CM+lyo26sW6jdGCXzg2ircdQ2dAiSLLqrwYADp9TxZ1UKc8f5c50KMkGqPjXrhzuHDICe0d/FxpUdwVv1yS98dPZzPpyHpp6DVwgTbUl1m181ygzyP4Ei4UbtCuKbAW/J4DwHHXeNk539xhQuM2JrdoDw3vC118AjfmmzKPOaj/6myo+Nq55/jbyrII/F+X9aU6k3OXFJZVoW7xN2kKGSM92fAKbFMZ+YGuCPlDeuSzhEeNyvvKokTGm1YzH9JR/Fgho3m2NGm/U6/bVxJ1pHtVCNxrekiHZH3J0naNHb0gL293K594dK30+FaBZsDw40RtDB+TSnL3UDZH9MC3UYaScg+VOj64C80SBfSr+/Iza5MhQXwSYJHBbK3SLysgGqnY5AQsmOQDvSDwoagTGXmNROb5mJsqJnbypXCJS1aiK1u0n5VhlPXmsUoW3sRON0Q9dRD0NNiFtlZXiODi4MkUc4Qxg2224abaCU0CUqi2RGJGivk25/PeJ4a4yBZQMax8xfINRGNK1030F0Qm5KsdH1KHYLjGLDoabH6wVSUb4vEJRQLCWFYs1VnvxfITkHG9daGQHbJjZb4LKr4TN5+H5+8mqvsygfmCvRPHjOpH57UZ/2mEdU0sfyT5dxqq9wBvt2kq9sETblsY1p+rLylLKKY/A7L5XaMA6Q2oQTXHgjIZSpu8I2jpFC/UXflfbKO0f/HFUXh4Uu1Aa4wSf+G16ayvEafu3tZI/iwJJNTC+Dtcl6TpNxejslKMYakZzehFah5+jT+Kr9gOn+TQlqSbkCkq81m720hLeXC9StlqdLv2GhTuMOooJS1nGywQl2C/5X5vog70mNFEb0rvSJdHSgD1cEGveBafyMcSnsJhlwHXRqaOfu7qHNgB+4dypFqfg6nmU85S1a/aJjC37v58PRjC/x48Aq+LB44Xo5fvGCn+z0gT9ivJrfFHA0YbJ2nU+gUzv7WpMSIrfjgV/omg4YhKLwr0rUCBI6XyE75+ckvi7rQWpm/Bdly9hBYp6NnYYdr9LSxjYOyWDfYOXrdauirqJZj7HMTPUCTlmE/l4/bJbWVvhPOBw5bP1zh0g3h9uf+JXeuHUl6QSv+fUAPCikDvw/2tDCSy9ThDzbT9HWiV7Ez7kc5qeRe3FJlGo33o6ghAyPxZ3oljwCIUatd15xgGF81hi2kTIVae24xNUra8J49f1u96PRUnGt/xTOp2b0yh1NpQJK5oB7ESfT6fPfFRfe0H4zX6yEOriatP+XAIDxNZkjGLtPxrdk1tcH6FjMXEwPCJNTYD2M1FFaUd49AD6KRGHtgHVkuYI5d8PAxnZKp+ikDm66uASLJI/DHB0B+vXr55ZOjpzuHglcJs8hn1w9GtfNBi5eogIJsXljzWAqLiKmfsaJp+M6HD0z/GwDzvurCIWfcu6utTQOBSdaYP7bMYITcPhTEOKmuCcAM7UyytZ5LZEG2YCnh7qYjScULbX5NZuZW+MYnKr1W8jxCLgueibuPH++SglfVLmOO1whtSu2WvqOBPIIQqn4fMCkptYpMrOCy2xlYchUi27KGgNJxE7O4egaygPZ46orViibKYE92DAzAUcHB+gLhUsDi4wggAOHjuUELVQSFCaZZVIQjtQIaqI9wbeF940Zey9w7LrGODXzqD3WI9aDEqwjFB4vBHJIQLb3s7vRp1JLecHCIQce/o9P5n8eZd4PbVAZsvzMGEcb14/oTsKN9SP9NbojesV0VqYK0ypCQD2BdX0BpJ/sbAKmB671F2/4Ddn8plqbUvNmkrjXkqjXAeIXX5/Aneb8xL46C6KG3UkiQXJIOVTlJwnWr+9nibbMPw5aC36OPpQbkmkZKQq60QpJ8PAeI9BQcr5if89iUmRyoHyP733MkahJNnbH4r1dZ4tMlcCykT0dWyd08SFZbdJVSpG/Oi3Qc0LpFaSkI2EVVj7bGU5Rn5k9L4jPuTYgP/fwQh8BWJ/3Apqh8AYwKpcwRU3zeK+HCHyyjsSVfU1KwFWWT1l0zxmvt4NuPd0BWOi2f99diySjRoJAw65A0hm3/p76T39h0/jqGhz/lfZVbQWX2+gFpDWDeEJyDMMASpPhvI4CDs5WVC/XCcRKIAhVDaUbXH8aEdUqINkw+u8ya+K3esa4sLcXhpOv+Afew8CtoUK3juseDxx1vXrw9KXV8xdoLlVwVubTLHfJYpM6dxY5tTzMbDbaScQeIRh6e53S9nnXy5w4ZI2ONWJThNneiBRmTLFVMSXXVKpw49lV3DEA7kcodwrYWk4TdrDguQfgR12EMnUJ+enm8qEYAjvN1DZSqwC9lFUtea7zEJJvjUH/BEqXOuAcGkB/IewSSO2ubWpe0GQUIaJGSyBKj217UARtNeUKhbCu1P40M79w3MZ2IZky12ds0cyW+HwOVMzvPuxRl1fOnPwwn7vBlpvx6d1Jv6dOiHKDuMNzZgaQj/YOigSY2xXPIQpkkMmWOjmsX8Si7iuWBJCAMWuoIhs0Q6WgpfpQ9mVnK4b25olUxU1jF9JIrV7HRhzTtG3cGc6NbcOfnGvxPTI4A3nKGqzdYElS9+EY9He5aqwFaXoKjCMwkf/3+EtBULGTk6BzBxvBsvzRW1r0K+frlNfS23LggQUIvILvVbzluj8O/9BeSfL6ivmpoXsTk5xL8cimyUqcSaPfoP5j/ROtAF6ZgTjhGISRK2QJFPasJ+/DPpaLe2ofXU0g24dgUkR17gG+19VKSiexL/7suEwOgo4hveKwf62ZVDfEsO5QpEdSWi1qgUSQAxYP29e1lKOxCccgvkWO/euIhOMSDsG2E58JwAtz0WAodjYa0tf1EISAX/Z+yrVp/u2LskN/b/2qQsnjlkd/dO6/v5qV2uXKgzHJQCLawhFRkIVao1pBjetQwru/DNLCRV4M6DHvSzpqr3iP8BqnI+vnaMiUtUSf5/LRsWQwKXrZonX0K+ewyC0rvYSPkHYVKyqTnuD+vdjxBgR3oqATU6PUj4H8D9x2nwaqs4Iq7FLyKOvlCCiobjKRNGprc/dHD8Iu4Ba0u8Hn8Eo8+jKXmD0C+9DRChtM18m7uSYT1KF86kfGpBBegPf12u9UyJsNUAcHS+UX+8OPqrPhTcZciGYBotR5Mvgk/PajF4xpsFOcUQ7ETX44K/TECi+elj7EQpEYJJft8P1vLffEvWkP4uiXyOlZAB3cmuDTht5JV2+qt3hz9LazYeEHlw6qa6tl7/4nhq9ymd1+j/wVz1h2rv1xn4DS13r9qtaXXCGqcZ31aGyPmFm4XD74i0QxNRRXquGlpq9yHU7xlUsSc4p4Pw3Ui1xBhfDoH9Bj83JJpMZCyyeWtLwZuSO8UGKVAc60qdqg8r46DE3K+HwMI6uUjFgLYEwuyL3Pl5LodCAQeAMzmUDa421v8WHJuCj7JL4QvRRgmEd21GNGz9bjoSgG7Sq0sAZ9+niZ6nPKOZJ8Aa9Rw6Z/QUbH6mDCo+Jg9a0F8SmNConwGJ+1AhJ60lRt3ML3R1Q86shE6Y74Kxth+PtWb9gzWPN7t0QFdIrqzejYEbh9VDSneMdhpmNHQ98U1lf06iYOZgN0yTK/xrL2aCzzRNoRyNqdsTjlQWu9f3l5nYS7MaTpFy8uptAqcHgGcgiYZViNdntwxoxtjmrKl4oTx29kBawH1KWdJCNN6ar5m7bQ/0ofP8DvGadLegejU6Qm+16OgTyerRlcbhyDl8xWkxYIVDigpWU+PGjR3OSqLY81l4/Aosa4piW7aMJzzRUu29RugV70oBhdaBLud2/6LFMhxP7yq0ZU+2F9PRN20gs2DXMAH9IxJhmXjkOQ0t7wZq0fLa3MlB+yujJEOWIbQdR9a87Ru6mOdXTc+X1bbkJRuNOcWwHBmD+8Y00SnAZx3IPHJi+4N/qcjFDZKO6q1O6kOTGjfM4FmXkqGnfhd32b+lGtrRTTOHyNJPFfkvX8JUHgMFuQ8oH3YJo5UlhTQE35TDVUR1jMmzn3q5fV8hLAYrHEFalftfDLd6FILQHKbTXNsDLgts4PQhn1LLHW8idBGzGRm3HNSXMQoOXiG37oZjVYouKZBzJUa7r/SEQamxfX79hWwy+FJk4e3aCHTPmaQmDrNj8pMb72l6YYVrXHbVSD0xYt6vIVCzLhQ67/goS1eU0G1zI0QtQd/AXOjiCYW/b8QzH+eT/hU+9SPfo4rlG8/OzGozYJj1fqXN/jmlDq9+Ao9x8SLSCSy5ROjMLNeUnNCu5x7fA+SJDr+dCWDtIJ/kXPzmLqyqW2dsAwKolL+mamWuzr0cbLTR7qXnTTBpKlrRZVIZnt+7b0sNHgzB8w4nQzlpXGDru4tq+KxbUUtJ3uRYff0NwH5BjWRwbkNWZmAx6JdHvOUcXqSmjVrC+Uw8f/XP3n97dgXPMNA85glLgbbP5VANMTgxZYKYOtFMDH8gSu7+D3kQv45uuoKE3zR3UBUjWMM13dzt4bKiU+1R8T7Lnj1G7eF8PEGLvA3OV1Af5OAIY7nfe+/nuBpXK7NYSAQ3GQN5jf9sueRgcLWW9xMa80zR71EXlOlqSbxk7SAs+BfYg5m2f3bvhnl+i9cRYoqB18eEec9Y+3Q9dcb3LqTVh9ibyM4VXnIH+XmnZlCW3TZvHcrrpxj86PivFSQRaWgEHhhheklGR9WnIpO1jEfMs4M50/cixzHiWE1MoRIMdc1H9BNk+/p4J/mriU1z8hec6zc5FxbljLI313+B0AmH2oNxb/ifW9F+m7lHduscgbAjusYBupKni8aRQEbuiYuZ9RUufZYHrpp42w7N7IR0nt6RDT/fGPbeoXOsCOzUfYTVyIkXuZID6KfG7l0bYMuL+WANHGnPFXGRLUIzOjMIwCeEyNWNSwjLfwzy5/maZUTI5qamvYXEQIw0UZcyZR91Bcy+OfgAm2ZMi8XE0yOeL4BTQdQ47lzIppoG8UU9SewvagIzQ0mTRnm85ajBROdZSp9R/rxv0NavQLERYng0Tb0lBuunTsLbck6uTDsETn3lxzYBoQSeJ0m4L7n0Ac43GCyiGcYa1xZF7r/ArkilUggoL1VDIBpEKBcd6K0xYrxNIHM5uVYPbUfPtY9f+IosGKHUcpDFv6FBeuVS1i/uPz51QZsedbWP9cCmlceTwKVNkcp/rav2xY+TWE71qhYgSKaT0hntouoyfgQR8Lr8NdSrdM8RaEcLDvu7KCwruB8EWuNKt1A39GEFpfcjVni12pfVabkSH14heyFf/nUImeQ+hJpqHv7UJePJPbGrai4jUzr+cFOvcM4+fwVOGMu8ZFPYBDIxSYK9QGBjX4fxjpElOi4HyLlBOFCyMXA6jYT5oa/a9PZnE5YWQLNSUzorWrJfkQSfj9Aa5ICjH8Mt7kMucDYufgWMIO0cFdAqECAYLoZu1Bku/nuUdGq/Bu+CeEc8w5JskvJuVZ5EBdSuJO4QFLIS5BB9a2E4zbi0V4W3HohL9XOY0BKrJzg2MO9mxotXOQwaXNnKzcaJWQdsh/lv/cHdaxXmlug3/LLgqNyu0hX6n8JpxOnImwv8QidZIW9AN/3KxueTBhb8tYT/lB7gOjTyL+E1Vs11PMtBaUj2RMNnMuRow0EzqP+guDkazIWmyaXijBCmNCalu8uscGm6J76qAlFLiQfdgBsV7zefMNVn7U0MpQyW0Z2OYsR32pz9VKDH3i4FcGy9sP9CLK7r0ZcGRzFlWGfAgy+G/T2FNs3p6qpknhTDFMztqksBMc8xmm9CUHXoUpR8zrfOIdsirJqQeHzKtIUEJUaZZtzxQsGxt0LDj8soHzqEVYrMQ8isxgo4xa+Bnmgq7jMzULtXAaPdIU7hIIHjGOfqdGcT8vImRQt5Z6D3/tqqdEhy28kvu3Ggemd8BfWbzOCCDTYZv2fU38bdREbbNmEmfZdF+FWT5PpXb5PytiDKl/oEfIIIEpYaVsjcc2fUbuv4Z6JQJGHHJ6J5WNaK04pe+dc/hxC8Qu5U5MhPE0z8ILs+/T8Ve7l86lxGYRD5A/ODz0r5LtmNR9Xv8s8mS1oIZ9w4ncIjYFH9SbWLi80+XXPKeWq+HX1Jnh+YVnoWetGmYdSDQB32wIWtMnV2iACCz8LZiZ+nlT6+AXhUTjZUaeVtVFH1zFDeJXep3UDKQiFOojvyavI0b4EnO0bFZuJsvFhPlq1UXhPaOJgwgAjqOOA+OEesHh/HmJGj3f1+AExkrnpw3uM2nt2NGPV+fnsmJQsC+b7IfuboxJh9W6H99swSc0wm+0hft2EDI4LiGAALBk2bfl+u6CpQr30iSkcYDUiG+ftAKIc1bfGgCa36jr5AXzOZ7WqWUyX4Zewh7TcRTSLLg4Lzntm5K2v27UoA447fmZL2yVzjbCb234Si5qhn50I5GXnspNHDEAljIn7rT2TgTsb98sRTGfVAzHjCLuHdGurKDr8Zvhw4F2yOAHASN2MsvMF3o3TTxJWWrW/ogqBfUSKvClYcenEjCFV7U6pTtylSUlM35UdKlB3qxmZ9lRu7kQipgint6o9zHZG2J2Utj8mK/O815+rxD8Bg9uw2tCQQdEM9QQQjKhKPVcuufycnfaIbh1X1Ho3yXYf5rzRVqMUSpSqjZRYJevpp4GNLKcavIZI3pU82ktCQ01nD/xo+CQSaDBy8hKGU8r8KNCY1wvkILbrc8RFsmNWnE0bN23lYHolxjX6JLY3XKPfQx/MQ84tnjV14aMTlP447Qcfq4niIl5o1zxh03G9tXWNHwBL85Z1UjitFLs2NNSs8yAcWsXxsQF5VNzVHwoQOULjmQqVjAN+u+bEoJipMme0MqgOSWonIDAnlhKLEF3QQPZuI9+Yapmwj1HG1rtFcTJa4zGrBM0OpJk8Gh2Cg/XYostYwvz9ShPvtlND9GbogQtqosX+aha8IV3dn25Vcli3aFnlayJvoXtI8YkOpLwwQ+4ateGHxYNUYCgu6BT53WpQiY3GGqYbTUSQGjF6Nb8g7xGeutnWpiAumBeNsRWzGLIfYPYwRmx2XfqGFZ4ySNTksXv/sL17y4PqrsAMw2JU94P9T4cqjH4RuGfYy5NkONL62nbLHM/4teP3adaexFACpgUAkDEU9juE8nVw9Zrsjjf41/4q1kI/tdabFn5h+m0MIu6fsfNICVc6jGDpBPZCXYW/8cKSyk1qkP60sDS3sHudpDCkS9e+eLSBT5YhPbO/uoXbJDuZVi4oFdqYLdD0IczoAFju4K91jSNpOh38H0BbNSuqNy2u791AsTWi03i9XGzgncR8HMUzmUs4cUd5UM/3kvffzrAgabspl6I9May2fXyjSOVdBL9n03SLgkZvVbVvpEG4U3Kh9PPkN6HKSTNRR9OhgvHZ+v4Tw+WQa032xOHX52posOGf7UypDgy/GLNMwoMu3LMSWQ51atZu6eNb4/OVvHnjIc5IYf4vDSpRB7Lq0vZIoL7Rn9/FvmvuICnMq+bElzpN13FDWc7QM8kUCnuGDaUW/C0FrSitUBEeOGmi2N+h9JQMzSNXkDBqEHf5pCR6MI2dSviG2UZSN0lHr6I/2X1F2gXHQLaNn2qk8nJbgM2PHZsBPsQuit4SbV/uDseLnzGVTln9awZPFqZTqulWSxhHmmw8TLnHJijXM37dFA3EfnOG454ssTzCZQEIzp09n4drQemq+Spc/5qS9QdArPkqzZ9gubWnbnKlXLuqD+k0VjJcV72CB4dmZj7GaNiUefGrOgwKuTjbu2z+4Ui2EgW+0PIEgcXnbX/fuLW6NoNw+HVET+ESFLmWh52zzKHXspyC1u8azmGNzDJreWQbZyPa/C4/EgQgo1je/pp8NhFfrPtIQyIfbDBkfHWk0elcJqzQN0VimO5+HbXWkF0FJ+xsQD5Hlz7SM1V3mayWnpLqvvAGCQskeZ377DkVjVUly7MDr36Rpn3xYYgvn9cECFQ6PpLDNRRhNYp6XNss8wc1SchFY4KpNCzfd95UJUGcNaGNC9cF5LoxMjNtW1L96NOrNfCn2CRLDStfy6ky96WSLXUmzm3vW3qy5h+OH100ZatjHjfzr6rua7zTXFfxrjmampcXj8ALWbXXbgZ2NaxbVaB/X1Pc6MBb4/n+30A4g5evMsa0U/PopXO7IFCrm4AqmG9JptEbyYWDH/zjuHu3mDVTeHmImv4WweyWbv/Yc20UZEQt8t3QXUHJiUZqRdkNYbpHTRvZheDF/lkLfPXeuFmIpSwfgQwlJnqGP//jFpuWImZPoXObZURnaali8iaNGQU+NWRJOgWi1wy3zbVB+rfnm4HQYSHi4VkKLBkYq041V6LfyJWU3T0a94K9XHGwp2I0sH5JpllXehJuVuWxkDsuo4AWPVbsvBOL4i7PCZdMfn+jVVy4GrU8C8rN+U3s9vsaI0zwUUYGe0RrPqZXwNpYFEHLlGhDohX8n+yJH4IQ0Gya1oN18um+S4BbGo5uCPlZJK9rXA2rQ8Xz5s5fMVMSgf6lqV4zU51PUzzNevDcwELOnOA9dD4HqNUfMv6GIkC4ui3+83PoJOtpBtXOnE5PHtmOf5D9yO6sFXU0/mv19kPCWgO9QCNel4mghMBsA6tyc0fXZRfOMlb1ovkwd+mulRZq+mi2ERt+Akg+J1gYvJoUYdrIEWzjLwXX6u+PTrqiqbWLDxGkG+wli6wNlwKifdIp1vIw/2iYwDzKiBMV+xLVr8yfPWfAEAAxpuMvAKpXEtO1RHxcKTmbpsC3gk7Cd0wCttBVsYkHJAYkDsS0NAjafz8ib8y8JVNU9bzrYmAxUYP0tJyiB3ZRRzeXUVxxDaFuK3WNAva5lADEsUWvstOs6putNGsGuDanPQ15UZtZ6bzEf5s7p06Y/FPCPr1YcVCA6AUKkCGFgV4kR8tGHezpKIVPBWDC6CeKyIdc5YO+UNvrJquO3XF29PddepWXj50ItkxOPuCwBSTVICCO9It0okCt4QLWquAjess4gIXONQBr1nbfiWFqTxQtT8EKIbR17LIIDMvFEKfpoueHOWGP6rIBo74t5OO869bBK0LAhp8wz1CvlMh+VW9aG9YvHO2TKSUk7LN6ihq8ekHHA1V24n/WKE1/zFd166kWLoq+jCu3rpQlrZPzYv5h3vqOtDS8I3px2FLmrFooFxMBnwm0QKuqGq/9799BuzXL7yF8JRWgDODSMmNvu4sCt4hJAQKdq9FxxcJc2uctEAV9dYlIHnisJS/26TJqP3PUYGSN6HEbOxv9hOhyP2G0TvtaxLQ24mEC8wH9gzILvdBeMqkwCDDnOwkxzpOWnfG7RZvgff3TcsFxElKb9uLlGSO99zr3Rh95Sb0WesFrLRWlHxLFQnku3IzezOQlb03HzSVG+BYFhYnM/HFyo1UAf7yfq1qPTKm/3sQSeruVMfQFNi3SW+J/aqJr3nbbIax1lbqPWoG7bJhlkNjudhsZJqhld97Bf8oMcrfBGe/d1r6KBkPaCpolWN0guQeqWYiTBkgKcvG8g5mgxPQ5jIwYH181TCuK81cptElOVPMYqBAzatdY+U76N7iv6A8ayxIPs+YqidGqVW4MPMCKDk2PyZSxR11FSmdFqLP8ACXCEsycBL+hkshFyLFJ/HHspeehTZXnsv8i3ZV4B45mlqHcYlyO+Se/AqcqzAg+9Cl/FdSbjyO9Xka2MQu+YRSIXvt620QmSVYSqQmPtCHRyGcX5s4AyYfgc2dZqQbncVqHiOFce1bdkvsszGymoWos/wNeYpyjVd86GfxVzIl+zhPa1TTVRr8sW1Apnt2oyecN6JPodiNHZFFbbbYlLA5MgFTB9juZ/PM2mvwEI3s5GcuF2hx1FxY4eJ0Q2wNDw7Wb4Pn9Xa+z/7ze/ldEdHrfe4B6ToRFyibAHCc7mKbPfKmypa1ZCve7ZqvI1IOcgwklHGRxqkXKoRMYLWKAhN3WVMT/Wv6GyjOcTLxvCJhV66iOqF8C6APt8OzkkY6Uliqp4VWWaDoclNwrtq4N9CJHF8FdpuOrD+BMYg81yuZ2Q787S6Q4z5DNAooDpdtCq1hZOcK2WRf4zNuA6oEI24W+MH1Qu5z+IuR5PtL19LhHvzAOpwK4/4H7nI9TcR2yhc9s4sXTmMPjWdlhSTzK7SfXWfHE9GeW0dZDuMETmBSKNfNkCzwyPDMlUJaLOgr26n3mOUt5DtnLmNKdpCYb4tC/JNqyDuwH175hDMG9MomgCEKKKyKWMzJlIf7tGC7ucacpCoPmgJI2jI5t34fb2nkshhFOPkInVpr0LmmTU8c8MRiVaKqUyV98dPcg8i8zN2gs9bvukLiwWlrJUyxI44wzN5xFMrOowzeSe0nLs7pVXUe3ckjSu5eH4/vOaqBMNfxj6vYOAzU6CM0FsOQOp2jN8/Sgz1O2JnQTfVmIsoMRRtutO4ahvyM+HfEwfIZXyCQBD2daSrEXhY4r9Tk1n8pVEG06DS02MX3Zfw38lI0fD7AAYFOlCIhaGTpqESDe0A/39fXIfOSMR2Qkyy7Ky0o85fgxhMHiINghNAbyyNzzFN0le29JHKlRcaWEUcXuL9KHMlxZIf5m6lWhsBumOLCV38kLTy0aWAq70Ico87BBgQABQaiTk3zQ8NtZHS8KM2RQoyisVU8LCisew0d8R4vDdnn8dSlErV0/jgrKWagLDTKXv8Ik8EmJz2kTXPVhjmz0XdSo7UwtXEIvs488GvOeFjmOncUw05Y81tm7xL5TJRYQEYs8yTH7dKvWizb8iz3cFO/2WfrnBFeZou9YuaKYzD3R9Ww6ZPyZeQ3Yqqe/bHGDVdtcKauD2/ML0aNVMIqWct6ortg53ZT/PoJs6aRg00RH1Rle7JWQfeTVuhv56EmkzbLn5vZjvz4siiNFK6JJBsl0T8BkZt+LWCi7TbvRL8OaXRyuTHOwR+2UgM96fIGPXGSUwopIFFV7ohQAobRLWEeU50opK7DDWetAcvr/Z23ndwdm0w+fKGd8Q+o9M24vOpVYEmVl0n64Deuk0bLMJAAPYpAe1YrBiKhIFxo10ws1iE71wpwD5p+LakHoLfWen+lROveshbv58w1JZsCESU65h7pkWhXJ/X8fiJOMOUoHCpbc1rJexz8+CpooJonNZ26X5Txjj0CRokT6DFELBzIPaoJ36RAEuvMSPQ0VanA+ixiyYaeEs9ZlQpeyOFpUXFBA2Sh4x2g0sJHKpJ1TW5TO/F+S8j9nh3MyyoKhjBOiipxXEgt4Fe3PPFlYqN/lQSlpowetoFKkglt2pt7ZzU6e4HAFcZx86H1R7SebYvBmV2vYuYW1CuGomSf3IIgLgB27JabsEKWvTubt9EZRZsPh3+dxAnnI2XxSJ+loGa3R0IUPpySsqzy3tnATAbxJ1c/apSkoxk6VyK7HzclfjcoUL0A2NET8lJ20jU1Vjqnu6ximDBUJ16UM/PvvZspI3rC78hqwyKUz696Cch0nkmwOVhMwR92Q/nVCMbBAOsHyXql61GLMRm9EEeqVMvTK7RFkg1zBIsmv+tCEBTCkLbSMg0aMfGTbF4DwvhYtXoPmdA4My2AkTDqYh0l8ajTC7NiY+UVbsFNFtCfIBZvZQAmyAwwJtSmLVwRpwygdTMCQbPG771Rc2DXbAMK7AVDOhZFMcmKJA8ieNZehVzb5dWiexPvwWhJ+0Y2h2FHBjuD7uXRWbtYBk/3B2F04bHvhOkEZnE+LwmE+tC2zJdmyDO2owJWf4H+M7TE7CFKY0028OHSPlI8QAhLeOwdgFLEldQlhvzWM2PMyVnHh/oZqdSknYCn7P3Hx6fpx8mMw3GQked/dSnqH+Nn2YDYAK1GlQerwKR9YjldhahoKzvfzYzObcqoZyE2dTMBqRT0DaCNej7zzZM5p1MkT8mnCC+v21g7k796k2H7Zi164m08tHt/Se2hej9jS94CAzR+Vv4fhS72vk2IKaoxjJ79olJN3SnUblifRg71zDgv/i5iFKLKaepdNTNYtOtYSj7ZNlDkPXkQz/uwCT7GwPhjF7lTkXsyFslVGMZv/LS8/bv20NT8sEXuXRAHkIHPIm+204Sw1amdG9z3FZZTEfCY6nxAg/8YWDa8DOm1HGMj5EAyD3U9pGh6sqlUjvjNL3VZxSTZl1QJG7awKhDlUNKmcvT3Qj4KxTRtSojVkg9Bzjw0IZGjW9eSzRiPDahp6UKlllMpT6EbsYZSvFTSYeRuppJn8kott3saIG0XOUGRDvsyKZU4ThKUZ6cmMAo9PP7HESi7DxKaOp4bysrVlqoJRxGanUzU0OEHxW4pIycjaEH2vLXRnmkWx4Xkmr0RrsZDGfcZe/UHawBZnkI4cJolaqV6X0PH+2excg7w9ghSs9HELdbZnV7PLFKEUd6pt5Vf4hFNYH3U5S3QF58nbFBl9noVP5y8VsK9L/WclYJs5iIwVQUEDNN1Jw3JYFgI8kjYs/Ix4HR1Wn2HFoxZ5j3lqY6zd7MdAehGz8CEs6HGg2Hl7o0AQpn5tnCmpEPwvg43MZQFLq2kUNMpq/moRaM4EpBtupNYZxneasyt51GXuiWGZhuDjsFGq5LhWIUVMeNQVC8bmeJX+zfzQd1NS9gNEqnLuDR/0gb2jm/UxveYhq2hz3QQqL/jcGc436gxT8Ynr36GosFN2u8DE4gfGv+LQcLlDHcd1tciUevMhskiT/o8tvbM7uyg4JI1lw+b/Z7naL2LO/QHySQ7GUcV37AlHdMX2rstoyLR6AXmqfojqt+GwuxACR3c5/xmpWOnSZIudaZTpTy4NsVv128F/Tle2LLTY4Gp6jlm2e+s3kWffBiGznixuE7PUSZS97Nnx6nI+Evpwmbd2v+D8YJyDeAUvDDoGXGJHJd51U3ZyQ7H3eLCoK6m54N990McayCfu8PMD8WJAPTg7ZGik77E6DW/kQFDxJShLKazInD2csJbreIaVSYkUfDGS+xL8uuJ1vGUN4P25NW5S69H0e4gLTx4de+N6PoccEbnxtYREa/R9B8fRYc/ctG6/evWDUUMYEkkdx6JBrO11NCUA/bfk5LZO3IReabRc86/i40g4drzDPJ4lDjU4r0WQFTGpNB9x1CfteZCVv+bHJXWY5x4ShS4q38d07NS6hFlGFls+2hE0GEu/3Eipvx6vjZtmYHnONpFPkVXokA/s6xwh/IX+2TWVUADIxZKWCQD1gtR35q3GiosMqC9McFbP+mWDqSqW53bGcnRufi7eAkL0nS+MtAj+WksNqwhJHLRTICtzIEaEppeIPyOiZOgtN53sYiWWNSx1JpwYcZ3h1He6jcXoZ23Z3goFuI5p1u+/J17yyJvkr7oivbch5GtagCth3g9HaiEFTKtUPmMDmqSVCCPWbCFGujmowiwPeUpMZJ4E5Tojm0OamnmRs1Bc/fmoxH0SR9vcUi35OB7Pgqr5drw5R3Irb8dGFaE+L75i05RAiJqoIKx5GCpc4UW7tTStCx5u2SG53GI3Gx6kg72FBxAuUaTG/+BBhB3KLnpH3kwDnhShEWpRMNvpHqBwvTgyIHqhLlFZUZ/IxNkBhXqPGHjMpdJO/TmNmjWuM3hjfwtbgQy4XHLzRtVyiEWceV1VzRBYWo5mom9C8Sk3RW+t7EpB2suEMstjC9GVUOO+QC/WgM7PYfAYdFPxdts2IeP+DvpPRo7Aum+C4F2gJgosRbk4CypVtxYI7TXa11esbAXUvldIHzlYT9C1GdT5CTqLil/nJj5+OkfEBfrWigf4bcCTY43/0WVui6MIfz6GuoOcibuhOMsbMD5L0bjrHvkjcB9SF8PUNLANMf6Lx+HRtiRSZJnfNXKpYa36hjJKsT828NQmSDpSG1w9aqXETQNl8xeu2fMyQufCdvqCvuAS06Epdk2bfyszfqDx9ScHIARpcncb9lOfvCZWV4ZfxtsNG3sqxJEL7NicAtGJQCYgf60ASc25Ujbi0Y6yTv95Y5AORsTlegHEWk+2s9F/fIrgTMRfQYxrPFJXGecnby2ozRSaZLPmD1YLPJ7C/NbBmPLVzMBd72+zxUfU+6lZvWAA/vUmIW3fZ3h928l2nFFP+qBU7Q4vpiiEpY4A7RnPNeRcBiGM/N7ZT3rl2FqOm+yYz6fOQUD6w1oS3q8hsMvYS1yOp6y+1FWpkILL7FsodTO0ixRdpywvHZZ6n34EoL81kYja6asalR6e1OTFOPy8+grl8+o6X/Rx71BQlcP1fZv2y1R976adXR6cs2KgtzOtvtG4q+9OzzmuuuGtK6HN6yxY4tKJSvraQhn1wTFEVnhpSOG924JN8MSrAMlqpKitd65PK1ThFkpW399n9M8SaPcgjS9Ksc1llHorCwaM4rjgGVuvibhmoL3DtKHHDRBWuBGakNCu2BFcaFLQKTwdWLFypUf2dGuqlCODRoxnrOHzmZD9DolTYnIO47gsuBL3AMfy8tx05Z/6us36guc/K02TLdQFxYYkvv8nOvCQN1u7W/l+FAVRnJJpeP4XTu8WLjUrRkwPI8YWRxYrnjbMk4wV8t+ueJmemozEa3UT8gMUat+7RkylJwhjk6cMIiOMzngjyFUocxQA/S5BfA6xGMFpVpjW1ODRaXddMXEdfC69/WVzvswlLwPVyw6egiDWcl8P9SsEskz2ZVjlH22zWgbMQqZaGJp2wcnYB4KhJDTrG+9EkX6E8rslyEfZT5zh5suWzvK7uF5wH+vBNMyts+yu2J6qE7TMGSc50g+IwCXIioMOYS5HLtcS1J5qwVBGByBcfyAoDPw/KSJWoJtzhQPPih5mTgVXPvymNrMkvdfOeD4/AmspdnYfJMBom6VFh/9X2N0W7l7P2lfDv6A+eFo4opkYuE27LmQtUlFmtKcJvU2eKuQ85O0GA2dwGw/BTmy+K1x9EvNoRpV8lJY7QTVhkDc2vfiPemi63QmbNhtr+sGGfbquyQAjIfU/0hrUB0v6sCOz/5YAeyxSSKOjQMGFXIItyT/ao+Ws3z/TQbVwn5TOasSPFL5yce81/pJ4s+j/xfOP5oZxhOlNZHc+qO+v+MLmoe6rdDsEkwTQqjDPo+2m6pfWYrQAkXd920yU6TbVkiGQRKkCtJJxwA8zusuTN0nRFh5eTg5clLIYK2/o0z6QPhnQMMonu8G7IWfDldBgdbrFCT9IYphFMcFaCkBhbcn8FfOcpM9F/TXDrifuRGajGwX2Kww7KGdHF7EKAmzeb64N1jPcBrrsvloet9i46ZlXJFEDD7bc9FDrr5h58F0tLJNbgGVNWvseeQcQDv5H4Z3+U1SAqmauZde14rANzeei+fN93/UQuJaJatLx8FN/Uclc/btILnHXhM1N3F4goGZEoAWcoKictU19MwykXka70cEPbn0ZrcEkvIW0cfTu9Z/7onR0sDrO/qvmENFr2Ae9GQpd4LNxApvlTAiN63O0pbmCmUBGaDLD2Oi/+JiXhO2b4r1QdpYv9pzZ6oj1bWJImiwK2w1iLyttr5qZ+8KDmOqv46vwOZY3v1IHTFm8GQ23NRaf6Ax6UD+h9nmq2LdDGsvl435u49wQnCvIjiUYkL9eouKdxWc1EmT5hJtGMb/seUpZn5l72W2o2B4/DoajplFcO8wDVM1VROLPUydFVykDcLD8xPxZcMUMeJEW8GDvObywjIdM9mNF6OvhUeerblrFknEzl4w8ORdf+9FsBJK9RHu+aE9bVy3xq0FmPy2MVg42XjDCFLVKg7yQOjbxQ0ctV7Hv+ISPvNCB0wLau72/jMHJXsYf7pEJtwqsoZMxi+WQ0Ij20c2rO2TpJcYm2KWmKw4V9CWGC5ABeuQzfKJfatt+RkT5lNiS3HJ9xgZ5zWJ1fDCKHo0auRnFEEDYHw6NVYQSS3baQFOWfh8pu3+2Hyu86EKBRBOwHbqhq7S2wyma/f2f9VQotafxGKd6o/K217BzaruR5Ic3dyfwUUE1nIxifyA62ZZeKm1ttc3sqkgp1q5dlEl9G5eEB557L2Z0P0sICOEqpv8yDxnlFJ/E4oEZ8BtYkucyUcP1kh3QLMXdz3FkrF1RAnV8ectuzpcnF9pPs048zueeTQNe2mSXxEyDFAOXVXa/+u1bT6NhDJnb3+246iImAGn7knKEZ0B3vUyQdEJl6VMtpLuASg4CRRhWeWo7aB86xXe5Ndad25WTeMhdlK7kQquEHvEQgw1k8MRRrp6hQ/lTdvrRSE1TG4QGh0uOZtbl5cRDC5vOvmmUoX1wvx8rcNh30cpm1d3SV9nkq0NUrBSCIEYsrUl3W/rcmOywbiIBOVnnd40TAXRGgGLR1qtIQ4X8qsujQET1sZNFxieQpdfWYnmAMQMuQ2vnF0V8xO1X/+a8Qzhk/30jaPnZlbS4h2ZSznA263yk7Qx284mytTzb6M8l8iadkGDGr4ZLUHgzKf4imZ/o3AicEACrquM863KFbece+e43LHws+xYYv2nqlWHMIC13wohVTqW9+NVSTUhgGEMzOpWCydF0IzSUiQq3QBAjiU+cOGxERWxIdBooJ9+VFAJ8DKZ/RtEaif9+0daHy6nKdyQ+S0v+mIcoHCqG7FA58RtFSZ7NaDtQapUnhrhI6LNEA8G6l0i5mjBXDSS+egDLA8ULuC/ux2DsbHxGg3wU5VHXLMtU/z36vuuljYGdfkhgjc604j7PfVj7R6alT1uoaI9fE3VIf8WXmBW+0xTM33Xvr33bp2eBMV9bWDsJz7GTTFfKeRaeYAKuT4XuFzW2Fp5AG0mevN3weZLBPcscVblGSUUoqvuO4dG++cvpi9SYN95oFTdxP0TzW5D7LnrZrS3EwplKlLM+Ru/yqbAKjoBsLCv4dLQifUSnCCac+jBUMWcHrZAKWEibX3/1NYupbFa6lACX5F+ehUxkuCnkTz+RVHOrK9BjolMu8bHpLQnri8nXYGYr+fF164ddE9YznRFsUNIt+1v/776z+ZhGLh5SWE+ieym5j6KMx/ofNBE76Su++Ggow1jiabMW/v2zDwM7oH0Ipig55D7ajWwDHo3NpUwpK9j9FspnQIz/qwVJ6VENWH9VHet98G4tnpB+0B41BbtyrkdDv4XsSm7vDZbV6bxJrRdXMCIFAIakQvI7p98oc4eAE+XRrh7kOURzz+wpkNKuzgdZBZPtZir7O8JlNmN/QYymQX66HYtLBkIJFU6XIn0e9LfKh4riJRoPpKv5Zs4F0HUPySsANIn/NMU8p20ewYpHGVB7T3RLagC1lW4UYx43cugJmBGMa+vp+pz3SeGdOiPldrZvUgv/1E/0NAiUAIzx8BiN5QM1dPl9RlwLPNkN/dyVNCOpM5NVVmT+2ePi+URzrBNghRTKV0WOysMWCXcG4jLqXGXj9eNUgeOibnY5q3VAQao+F9kilBiI0d5oGpYg0n1CLwsHUkOU2MVLtqUy7L0UkSK/060BWdjh65nV3whDmYOUFdsVXTWee6z6QlErOnp86d8VakrHq8ZjN8T8boTAZwC5tyx7rg6gAkTB8FIfZZ2H0QocZ5pn26N+KnnleN/G2F/ZQpDVs+i0SyBsZF3A9DQzZQ6OF7EUI09tdTVh5qwbgefPDpfG17BgBDCjp2GOTz8Q09q3mbjuxLLC6/zUW1zr45FIvw4MpdE+leN9fpYZA7pndYPctCq2QzVj+4bCtdwCgpNaXdNeGAXpiz9UaKfmHfsL8JOcVs/zms4JGH1ZWBk08qC1dqX2XjAqNp6a7Z+SDLbkcUY9cgOZPKd5tGg4P07dQtcSO7iNybF9KUFu87foVLUm6kY6CU9N0/l7pBPJ6s6hSgMZxHCcCA26vi/oPR2W9YuLLDmGh8HZ4xUe3SH1cZb7xYH2S4lQ4GwL8Ew+ecSVCIklszKfUzsITIIh0ssWny8BStMGjoKaJN+kuYyeI12AQ4nsBAsUwdNpe0BcZp+0YrEpY7eZA4i9wzPhGakq0gyBfsHl9exIDu3HHKCRzK3S+4NCG4dlSSjTEBSkaOPMhsUH4bsAMJFaG2wwUqMEZpxt3qTlTSSgqKif+aFXmiebhABgyZabl1K72Qsh+bB5vRkoyV4mwUlVbQyHjyamh3TVqjoHjPzd7YfYyxWVW4tGGO3kuzgsLSZE+AGZc9fR/6xYJsZrezPtwzOH/hu66Lxo4mPe/4yREiuiA8LpdbVBV5STv3UHAITISFzSNAzwPSqSuLikYCHA20YC0ci8CM2qrbui/4yVZZl96yMMmwRaGGlLil0eXJhWTBwP7FD7IeU5SVPe/VAZj4JKVOCeXUtCRbfN4eJoU1w62XWrER12KcmvqkpG9akvM51L7PyGSR8aXJsKM+RF9cj5M+LsMKc4VrjGC4Tt+h5BhJ6+iJBWg+W1RMZ7tcIlDpj7aS82Y8BT1it8f6xnNPvSE8K4oPzTSuM0CJhemSU1GyE6SOuXsoIhQzWf3bX/C4yxBev1Smck6GTyz27xrQdCEryn3HdtvMygadv4yirr8pxVNfjP/5Mu916hbTbhitYokfjWWb4ApXMlYzXp+WwFvKKu/Qi5Q9ZbCDGFkFoCQr5WYlp7wRY0lLu0dWWampkxhr7O68gFVyb1H0r5LDRbJ+MAKMQWPBrrGWKd2ET0qRgyAICiJWwbOZ7jRPYkepO960PrbpchndXXgQS/dxKltPJqI9fHEpSeuchTTJVza1YMyQbAcrImx335EJW4SihBRVI7IRdJVeTYHGhY2supekwfoX+yTuALCnTFtDVUFm8Qo5yiQV21+ed2qkpAYxjeOJhjoAJzD2smhCY0vCvfkHxZWcQs9+FUZByO5fpGaUlhVGc69IdAaxYWkh7XfdHkTuRTECiu2LyQILpvvqav+WsR/H8gEkAZyKYmVpUD7i5i5k5fuvL3Umn3l3fBNaYL3Cfnj7HjDw6ejOpHdl2sTquEjwU/BfjNjHar6WzjxNYyo0s6BRQzbNPCBrkwcrFwx6J2+ImheFyjJ2Ap7Wnj5yqgDHKcj05KUhnojnLF2dhqXxiKgNG6OP5xsTQt6GXUKN8diGBOCzwsid3izGLXAIUlcwBIeseTyC/VMp/NprfT6w1fRWAXq3nW61kPhWF1qot5ajBeZt60wv5Zik1dXOpYDdZMRusE2aAUvAOqUtgo3BrpsTjlXScy+K1FwKWIuliGXaBFrxQJ78c0AefZB1eBlE5GfEBUiBEcq8eIOdOQOYhCByVrmMmUnTRNQZmpYzk6TRh3LGdhzP9lOAkldpzKakcTIFe1U3qGSAgDhmPmPPQgVDTra/52s4WmHXddLFZiBms0kURXXHuy1vTEnIbNyuftwX9bjqrbcaUwGL4uiZ5YFB9praZjp+4IE0cfIDy/E0TpuoV2HRZyXz9n8VPy/GEP3/AiW4lGQUyMKcmmmc14Sz4DS6OzcUnz9hh+JG56ktlP2eKNezQpGcxUqRSNR0ALLYD+aKzGZPUR0hmoD6O6Nlgwk4QUSTUghwMmdgXjhBwc8d0fdCpcMy3UJs0Ajc9LomFkgNBSWvwJ8xRraEeLiOVtBh72NLvivZyFS4YQneYtS4Xv9LpvBe60acl1lP/8t85WgKbmY/dnDGfuQaR9+OtWu5YFF89TytNb0hqJ10KUR0bs2ziV+5z/hlnuqlISlTpC85oPXD97EPDKDMagJOSBm5SHKrjP4IR6MFXYzO7LAQtDaad1tFkqlGKQ0i3jGMAvGLYtal97u2bpypRgtqPmmTlHJL6VRNUdgcd8bw3vwinoEvxGpyKgwz9M23RYK1qsVF21LvTIisC3JKr1ARgBYMbqgW5+J68lb8r1Z+JVEXl1mcnkOBSbyLY4JhoZFT7t7Usd7CNe0y0KxKnWI3AX1Pa7EYQaAx+Bt63tZ9Z6uz5zLWglTYPHTpgHF71Z4hB6HSFIQ22Rg7JaUEovFdya5IUdoYuLXdbb8aB8lo/ExtZz/aRKFMQ7f5KUc2epnnKuWFliMhj3+yb+FKxVtJdmE9pYdgaLA5PPaHFz9fWcSThMG+W0/geMPbHprhPCOTljlYnNzq/rhwudhQoAC70aqf6FaFajfKgfANviATki2GUBFYubjKJmAw2+ARRGWKruJMNWejig9IgL9zqapoFXOQ6zwUNWo4yJXv5/J3b+/T+XFWBkbX03nL2RTL/ReXbRnwc0banOL9RqMWcmZuGxydNC5LsfQrfBLRkDsYD8Y4P9zW3LaNB3uwVo0h+HEQ4E0NM0EYlX33Fyf4uB5c06Un4xbxyBfFPEHc3MBEt5haIjlhGvZHmA6FIamAjfpyvdXrCDPxuregvvFQRN3ghXnytViZ3/oZTrnV5HoLtugFLkaas4Mmvksbu5UgsGBEOBHJbqyRDJkWM/x3k/B8rTbrj2vuHZnIgYouBQDJAovuaQdSjQILhSGc7D92T7as31glHwvSqutPw/7Ac6URl/QYy1zuCeQF0nMISnx63o7lzUsr8ltDCDpH84zCxsYE9K28KeCPzMC2mLa3/WELQS9KvhDa+qtkz9GlMde8dpwdaftTie/U+Gxh79Er46Y0jH6RYBdPh+X0ZDPAIfgnEnpCjJ+5J0UTYOBZ9J7yR/ZQ5814DXA2ZXG/mRIBYuAQ6vr5gg15ci67iikHtHYtYHvxvZ1Aal+IwsBXrkmv7tS36KqKqRuA2sO14u1ny07HeR2MzNuAQ9rb/WMOu0LQda5jBme8TYO5Y6NeRdE0ykr7AUgy5pjGZRDrrCfdBo1FOuolaTXmmRQJqnr4YdDJivNbqbGV6LMRrls1BxMhf8TWNkiPNJUuaG186iGr+HCTEJV/+e+Y2kuc0CIU5nm/Bb9CRrQQmKBvLWJVWp3N+3DTysIWfrwKJXguWpLsSDH1FJIlMcYuNvUqh9uE9gB3WHD1ANHb8UIxx6UL4xOaKJYs/otjNhKMAebFIRnfWpZv6+QAvZCE3C0NKGqvSf15gJM8Vtvbc9jkrtGDRi9ttB0Wcq4dzFCU1cYj26hsGVAVicdsTnydLXiysrpUh+TwwvXVGHyieqicij1cNLB42z8hDDbKeCx5XaDPefr18eujcR9PwFu4J7B4J045a8W56xFmylWX5Of6CQSMEucQhT/1aghh0scmfxHbqTnMbrUgzmtozjnUEmyrdycVHJ4IuvMczOU+XqdsoGgGphAQaH+Qn64vfb6QX/tIAXXMWI8sytHRk8/NTRwGQzRYBoKZnL+7uBDsWJ64+WA9S1rzyYxT0C2YuIcTE7mXVBkTKLcOTlhl3+yU17ruTYt0A4x4a8AMtmKbEp3ge5TfreCsQ2FGPVmjRO4pNDkcZNNfYfv69C+X4jcO1/yKsmpFuldCLY4WSLQYpujBguAYLXwt99NFi/TWmt4pVMU4AQDBQzg9gAhcCWefsrnum/AjUumN3jvwgKqtROLlDjfcL4Z1OY+B6/MAWwQDders/KYmKzFICBe5pP+a623bife419qbELPIP0WCGJNaHzJgV1CQxHfqhPhbsR7XT6Cq+vr3GjLDIlgO+HHOcKu1CRFRCPBy6EJZjpzwTwNjXfIsZoN6zJQlI8FC0DcvjMIelTonBWHUqK5zT/K7Hd9SJ3W/Fm6LF7t/qUne52flQ4g+Zlj6AN6ZW7OyvaFlU5/jJSLedsGy1XQA4Vpo4xptz68kyu6MDz13tO03Fb1qUthTcIHqpX+P00EYpThoYMxoPrUdfdC0Arm9F+C6/tC4w/1BHjC6vkSIMUZ0B1JYyLnkXTaYgoWfUvzHPvSmyfES25NR6wPq82tjbf/M8QONAlmHrgVS7OGGKE3beVJyNBNsWOxHPnwXopr7p+q3qUhIzTf2ncU3bMKVVl3DjXn0wJgJT1aXCMKBmU2cT2Olwf3Jj1gokUkgRhTclcHA6L22UKSDLl91KqjP0GSIlCIZd1Wu051qRhaI+WzAPEtujdiQNPn+MNqCVvxr8hn99xJOHa011hs0o7W64G+nj53ZPCVNlsvVxscakBBlTmowEMPZjl1gh1IeUWpdx8/pmHLJMNH3NC7iu7+nxTz2+74ZGdpa3bLe7NADfbym9eLwUBy5EFtNHzzFEx8azeKBZntB0TD7CipO+eNALfL0jGEFqLymq+yEjPttAG3RL8MWUN9YnOjv3FVTqe3KOEV0G8uAS7HUn9WuuBMAF8DTFjVQNCsL83pige3iU88SLOLdMnPwcl5son3fV8hu6wGpv/qWNxAtG06VgznxEpr8wMgEib+3OozM/XFulsapeMoRCC8GrztDpqvKFt6gwXBKqx/iZGvw+jC0RvJLmVZpxB/Xn3erHg+JHCApXGF4sw9mI4sQkX804MdZjGm8481ExOH9yB1jMkdozfQ/gLIewhnWRideHI9F6T+CGX4gLePY+ALWybWatl6T4VN51F1TSoV4+j8CXPD14id6mVIs84L5GYFhGp66njhOzfiQPEoCJezbCDBGA4xBNYVUd/Khp8viPpdvJlaBLujSffYf+pT1OYlWvXX/ze+V9Z3uwbdyTbbEExWA4Rk4qyYFlpwcZC3kmJRImb3AkdgnTw0GSr8/d1/3QOjecyycqp/JxChR9mg+uqqGkMH0qj8EmiN+jaJWCtWFXyZGpM9mqUaLGA05N4xUQPYhJ1pewy2HCfwRPyd7369QRHHLPojEWUhQSmTysfkupUJpIkXYYQ4MBd2FHAdEr+6/uI9aiMav1wR8GNf0mM+NnKy894/cS+bSl3ecU7lowyelTJc3Bf+1Plgoaw4z+S1LYzTGqAAJvYB6CXT50//J2fxsi3OdkCanccdTmycBPE0xCAB77o659WHoWCsbejJ5NwKN+6ngkcuSBFhBdpT7Zf7BjV6EA+K7yb8Ke0DjxxpsTr6J2HkeNjJqU5bXtsFHblvS5s3UrTHcAbDxcocqFQjydwbWNY6hRC7J4H3pWm+WTp8H0EPRPAqtVIMnkjxXnYT3vCROKRRqx/1nC9t3QEs61I5PRWZ7Wpt94n8XQzN6RjcJsdrCgokNJ7Sr/bBYDopVMxvJFiVJTY0bCzt99NY+XQjvmoamViAeqe0LCpGVlPbQqQ6ubRXQY9MwBZAdVgMA5t2w6kbFXrMBhQE4rUrlsMSvwVFsQP59rTVNWCdjsMpWiWpOjVDgJIPbCBQ1rGwdz2neueMFp7yNBTgIMaOdDwwpCWTX+7anj8xrfEe9xEd+1B661Rnz/5yHJRneuQ6MmrHgMR1dQ5lwECZsV1Yeb7XEz2wVU+S7f1/cm5SsfGAolnBN+lGsaO76Vtb7OMlPbThIUEpoOsiTLzGy4ZvLIOGxvsoLahuGohbwjERtbBYThi37ec98+GpNq1S+dbxuxByLlNV/oTxcvEqWxT6/UFyooIEDfFRVh4C3BisItRURpHJbnnxcr6bF8RqP8whsR6V791Kt3o7rFYYedyE9ZkUvQTYSg1tO0sTjSdCT2LYqDEIa3DgU7C2loBQ04IlYzKbyUh30I0ZB2+RaQSUwHOocexYzC98NCPjcPKpUIdeM00s4BQ87/DpIGppa4xlqEo6NluTh6RveNauyYH4qKj2+4Emc4xfICuBpBWhZCNZohrrkmoKUATqGHbBk2nJjbWQ0BOttvZkQOTed3HXwJeyvVhJUhUTkl+s6bUcimWCRZCAoiDUAFSFH3xzx0k5soQJDutUNTJ3YQwXAW2wdR+zW+QzM6Yo1RzFmr/yqOtyKXvvdVRLaPvFyOGMdHNG1uGPv4aaYVEA8rbDMBbpxuySpDK4X0Rf1/SoGPcWUJm1k/rXyO0VI0wjyqNzqtJPgACsUy/ccaDf5Qltg3m6zgknUIryLmfe4G8z8A/yA1gcOzv+kMvQCVjhfU1MlD58IjPuvdHzZAg3PQufQpQZKWiZAFu5G7Ojv8IIaLZCojss4NyrbQf3I8y74inOrWYcMj53uzP1/s7Np30k3CS4cYJLd3jB439LXGACqBQZO1TuSzQkdbgUOCS2kYXGjgFWZ2GmB63WUOyHP//nELCAPeO2Tu2c2niKHOO+uC4mPWuJdNoaT6OiCgkgAAlHITgD1CkLctpjo6dOzJP3QrS1rikFdTYpQbjF/KCOWs0Hr8phJq0u40nqLkOArP6jmy5HETSZ61XYA4Ng4LTtFCq6kYPu/Bqdq9LCe8RcxJPRwMCCTv2TZES6tDFzEIiDcJ+1KiXP1Lx5fKXMIIQkn3N3k4yIaBFkNRY0vKHEApyt0oWr2m3JQubWyf8MDR87XEWiX4H22+/8nEPzF2d2NtvdwdjXNk4fOlLrqB1H0QVDNdbYEJ+DYcL2mge93rA/kmYy1KXF95qkF1DpNvCf+dzIPKHi4p4i5RkR+dROUMZ1Sh8jh0ISmnJLFg23aQcwZQJGswF7YNAjrC1fsjbpZ28lO8Ini7FtnoyimjfJvVjac31R4AbAsoTRetxegNkbDLRtIkumZKYPxn6eqVfHdMOTrE3I1y8GyWsa19FZSyLCQo/030dDOIKPZGu/6DIqd899VA/Xe8s/oxAsmLyrjwQfHs7tSYJ6h92A0olICFxjg4qxw+7rb3okzKq4uraqXimvNnmTwDx74IUzsdFbYspGwq6hcwrMTltX6fuNswiR1hCrUldllwfVy9kKJHJyPj9XJS8FCr/vHz3QH2dww9ToU+SobcD71R1+3mD1DEg5dQuLe01udKKadN9mP4B2oBFiFUD/wnRwqrRF40iCapdLyi19cRoxVRTp8avoqNUgG8E6nzrOrS4REsIjU26QpaOG9f4BfbuJw8cy0WVboDHvvJYipT+uFsjrKvffc/VK7o5p0VaeLV/eONinqnr2HDNjVzcvH3k46m/hYZQF1lHsiZ1h6Nt+vJDGd+ZNswffS//AGZcukdWLIv3s2oSNto/H1eCJG65f1RtRN2Si2JsoMB89SQFd8ehgdK+5TkT0dhGcU1b//QVhhHpnWnykCEWnHBtSndA/6bqJH+boM8znELQTgFaNSOusS0BawAjL/kDLvTBOKBMc/7YKD0YetG0Jq8Ct3ELJ7QRJFeF19lAoTCbWZy6I93FAph77C/dv9vQX5El30XZJA8rqcKMzg9+uzA96bpvW96BT84D3+o/ppNBIkFKjR7myb4XSazVomSr/MLEdZcv+YFYmzDKC01h+Kx7EJP/K0KDywCGg1gKx94wVxgLrA6Z3Ezww+rsEq0kjBeI6eczHTQos044c5ah20xROGzRUzIeA3HkeoK6E/5KbThsYMTPCe8IeB3Zhq4BhbWEf+gff0869L5cwILQwoM11lGld/Ytgr54H/Kdsx4zCQqAMKGYI4pQ4tJtLVX1P76cOseres4QilqUiotug8tRrh6HsLsnNcCfpELQaQoLwICG8BNWlNtNXw6k3isdWxAFl6Hv5BI3LVAvggfJTa96NHD/UGGWg1uuwitjl/6dMJI4Jz3sdgjaB6FWLtX4LfzlBm5dpkpouf+g4vZ7txFBaQOzFvkH/dsKPd5Ry49izmO/X+tkhNrk4thAOIfGcgLiykz+Dz543KtoSiTyUTDwQADdt0iibAlq6FHOTG6lf8XjMTl1l3kd8WC8NEFkb1NXOTN/DT4hNP0AHSeYTBG3+161TYgEY+iJ+dGhXrnnK/MZwVaaxmZv5bslOojvMhJPyuB31f+pU3YnxpzBIgEeAORWndnOZ/8wCjRp3pJHvpk4WZXszu+hRjaHUfQNOoLqd2rff1oOnEkAtiK8BOLZR7+Vt0InM1zmMEXP+u6Q+O6WZPAVMaiAQ/+DY/8j5PDdNiKyfiiRWlI8Zp9pG+daykBXP4xaFAhGgWzI2HuyA2WuBu/tY/pKE7IOks198f03Lzl8Pdm+kDTz4MbYHq0G+Lchad9mqbySBo8vjrNcR3qrLYaGKmUbXw2p9kti9UZ2bh0JW2Y/yMOBRNLRJ5Ee91lzZtPJ3dyiXfgAE1PX9UIxDYWf/13zKeciVc9DT7QNc56+P3h9VzMHXxxGfRgQswUz577wkxtO+GoGrGVhQBDRp6N143b5yau+46m3EaazaEZmcUQOyVR19ODgmoFCry/R1IAp6yWaVLqmp6KdVhjLP/K9axXNN3pmn53DfyMUqY37EqmG84/MEJp+Foe0PM860HgWTi2WtdkPNqjRj78GvsaOC2eMec9dBK31NM12W1cnCJqok9vmHdjVqusM5Stc4IIl/vJU/KzDxww1tyNxhl4o+FQ0Qv803ziGUjGG66bRjvTrbRkS1683BcmD33+42QGgm7KvDSC54exafqeKUGJGCzjodr+F4+iSxjfJ2sk4opMS0sfrbGkdfr8s6twOOSklVg9mos4xMWknt69FrOLDZ+0UTAwK81Jw0myQ6zBkG2dCZY1ztTezOCiUg3cxN/iBHKCc5O8/w/VU/9J7vkA7Qe7eJDOLbBXTkrsQ3a+xcXkjE44hceSovnRrkIeq5TEfkSvPh17+NNvBVG2MSLy+JBTUls+Qp8LuNdQMn/jEyNVZDfkLbavyZ0ASqUQlH0Stg1miZgEg9YqrUkG6f7PVdTRG4cnZcd37IgYxv6RTXOCG0GHH3Tu8B9LBeR3CZNmrMk+H7qYnuTI//bdx/2EGa+ki8SrWp3Vt8DBtoAE0/lMOKpG6AtrmVwhL/CBZvSszFjonx2gX478SGWeGxT0lYRYF3/0ZOPtX0WAroY8Y6mumpQ42oNlW0i4+o89O4SwCy/5dmahBJxhFn6TgaY1SeisXxh2IE3oGP6YUZbe01egv6M4ZLcIeOg5xm5xvrTlF1VtstIwmHHlT7yr3btUuEGbEtB+gBsHbKZC+kZ2q+Qcxv1sjOKK3Nw3uMEKsL5RZwc4s9Bico1vtr+JKepac1QOeuKKss5A1TQKDcp0WU8HuOo80VLOccD8H+jeiSIbFxIN+y0URRx0/Rb3C+Xzs2RkGF+lkdoyI7j+3tixNRD1z3mRvLuCMrxRqXNAvts15Vm9MJ3je4FuSpY0+eOJ7YBXMye2v+Qz676SSgJiOn/YLuSg8kRvWNliCv1jt2GiRN4tOZsfiDJd5k0jdS3r6ehKWwIRgr7CDQMJUNn6JXHdLqKR12bbDLy60A29AE/cFIB42I69+YkmswhbNcQWt92IyLgkTahD8s7ginnTq33h5AsYcE1krdXJxvdOfjgmihgteedS8t0JFmaa7s+GzrQXaZAst3Jpdr0ZphkEQ73QWpCw3/VoNaYXm48wXKqZND4Rs66xuLGpnMKAuvFpeNxMGWEzeMcI73JldDrK/apX6z+S9VZbkAgb3+gKH7/Qe2c8OLNC8OHv1akHXmMHHxQ663g/PiT63PrFMlwiSkDe+C40Gj0pVdpdyWdYFtmLVJjBjPbDC1Ed3oITGd5GLvXSWTm/6+zMr02KF0j5aaBrCQ3wl2XNGqaIXnRqg1qa2w98wAz+ZDcmScDxIRpG4emfs69tk6ieUemS+lFJtNgo5eMcghKmhblaXG26F9caAnx/Q+2wf/YfOdeCz9YkPLVF7oxnzlta7QfWFt+blZfNsU6tUChHE4jQbe2zqAu7cx2tFj0oZYMom88Go//pQc0iJ+eLoplAfYj8JuBQ+/uLxldyZ8Ewa+Mi8ZMFvXf/8n7tNTYTk05lhzSWYfiyNDyKO+BHsJMRGCkGvmvYSglZjPMyvi07e05/Nxhhx79JQAiqVerMNt9+3oChgTrksETw2Uac3WD8FnFmV+9IPE3mESn3MUxiOx8whrIFt32u4EdEZspNhIQiRnqlfZu/jZfyyXW4PMcsp0PxE4R/zUH/eBK6IDCVxNrddp6NonIFe9u+lYlXmXlvVtsyioqtFQvK/oVkpdw4HWymUzUc/b4g2to+kDQr3TdfK169B4E//s6NCMsAKSHyjvNM6r6u9xVsCizKWtnn6f/nbeTZ1tlPveKZLwPHQrvL9BDLtsy/GQws/BJP4/yqLrK1lhJjD080WUYn+drN/lS6RzaweYX59cbdxnby/X06RRuiMVRATJ6US4kBu78l0/QcQlGrl5cGSahTSf1pQ58I3S7c4ln509tZ1gl7nb5VLBJo+ILqMWVjhUPQrT9ndf+tGmrwr1el2bFxI2zC2tn2xSjxAVN3g0pk13tC4FgSpSYC6UWRNRjSgPIvSQvXVbY2N4MYKMaPpqn0ziRprhjJ3XkbvOESdJoDvPriYYZSowC+Q2Z9oA4l5oe6C89VSLVsLUvWUHkrr0WxM0hRJ1BnwgJLsVZuX8PxUlh32y0mTN0pt3SFyc9efUuM7mwM3H6QEEG+PPjDLAaYTZrLbTNyOEY8P8O9sMl/4qkiLxq4zzHY8sfSD1yhdSn2MuXtsyPnnf4dxrZeq+rszxeVQROhW1J+mvZ9JZ5ryx8Ia9qquUCyRR6Y6sl9Odh0iBIOTxPGf1tOFJj+w1fmybnD+PonhIAxp2Xo8R6+hZxLmB26qO51nlFrgnng9/OAexs2p+mJ5km3sCFf+IRQ2kPzqoHFuGtrfsQilKBivT33o8c3nMdB6RXfeFwZVBSj7OomeFkPZrd275c/Q8+YswjbfpXRWvhllAEAbU3QzKwyumE+rsd2HXDpThvpydhnY8ylZyDdiPLb9K+KWk5XYt2G0NM+AO8udT3Tweu5xDsSHYXoPftI5gCZJmivwEBzCsACfBfE9gGMqyp6Rv/P3Lp1mY4G597SHvo1ZBYd9GAAxzxuUa1uwrCQBcnAUVEfLc3fb8hqgf7iH6Ujwv/rAYmoSQxAPhDXsjtlotgmPJoYeC7m2rEx0k9DF+TjbirjKiLbBsQqCuLLgSB9FNdelh3yJCIUV9RsqHPUOWvgKqFbzHSBrMTbbtT3ab+Twzr1wHJVu0w0gotXmmLPIRadm+aIqNsgNmd6k4QWV5xLD3gQISoCDu21BkQyJYHRDwxQ85IFlJH0pr3w34Vbn4JUF2mcpId5R8hkZy0Hcj9fPXidBLNHzFcVwLU9oaoS7HomjD4/YMTlqNRbl0pXNMYKPVEMwb4v4Z637kfnkEiogUTMpTPq0i3VI770sMWhOSE2oRtLpEJpmruvvLwGyt5Nd7Fr2CAz6S+Ebvrz02laECGHiuh98sqc083dUgMrvy3d5ZgI92qFsUDQQO/uAOjaP8/nVv8WCArRReqv8A/MmZNaXLlm0usqeRy1iobLbV0ojnOq92mXly/cGE/BrPpMfnDbOefSvcp22Ghno8ayfHpcr8XGRAqT5H1iCWwq88+yN96ztqGEnXDKSmHwJ6A2GCLIhIKo/htENv9LnZrZjs8WhQgWOwBJr8VWOn962vdzujNF8Vi1PIFSQ/kKA+Vzo+QJul9WqAsez88pBKCZPKSquwoM246j9Ci1DP6LpW2Ri7KqUjwIPpEe1hVH7FTJnZz1bZlUCxLBkvmKpZtlncAZHmGX8RC9Qz7Tqk18revDkqaPi2sty49cI4R47If6FeoIdx0up/fSvT32tu93zBknSeIWJtDkNL2Fi0itPL6aDnrnVpEu1JlRjE6QcJHcBQ/2cb0kbM147Q1B/CkfGRuIsE8CbVr0MlnaCETZ1DQci/iZ/MmYDPNpLJ3+3XNwDkX4qeVMTeqG9ufzkEk9ec03fdjQwwojK9NY/MEg/ItT6cpeI74Z5s6265CGl0jFXj86hPY0zBH3FNPZJwgI0to9T50XKdXaaWkTjL1y5zNbAM2mT65XQSa0UaFr2ugDqAF8NDMtRWf50XgPRaZNCgjFEQI9/OZ+C1wCzF+LsybaNIvA25X49SCrnidKy2boYHYO8ZRY+fQm9jFKL8cUSuOJ6URXN47uhqvfpISbjvEbUkB6rwaYLQwW+l8t3qKuK5qF3BY4Lje1dKj9He4j60Nhr2DCYOi8WqtNXOF3yzaXr11EGIDG+woDl4SwwnQ2EzoqOfp5RjnL7cj+RWhxXAGasbdz1O9e6/ieQ+zqMDFkH4n/8nYPpaEYyWnhFOSz9JU9JWAOO1EBU1PWIF+A7fgLAEp4yamvLC2RsRh8P/w+MvblFqR9JQdTl4PE3ukVPjXXCjnJtV3a2DRk8I0uNGgriY/KfmNkzWuTGOz/08D3R+yK811JNSygH4xdxz/oedTfOVLByNwOVIB1irE26ofnEwTvJXUTOuNBvyQsRX6eZ6CARmYJyr0MomI0a4c2OH0Dc3W55R8eMSmhrJCcVMQI1HJxvF9R72oiVr6AEMjlIYCScQElRnjPaln2o6L+10CoyEoMdieDc3MSxNJOK962sWMmFlEoYcQTbnydkfOh6kD8mC5qfVUGsLMGKGGPbCxm9DY4cmOSxFnG240PvmD8l539k0ROw/qHlkf1fDMHtuSFeWQFDLAa6mVyWTF/jKDQgsLTnonk0G9nvINhGObVJPXUIDDmHl1zvFnEOUZO2Zfe20LMqjEvfcSzUmaMLXvpcgbPfZ0mfCf2LqHgJRs3fCLZatlM0FVepM7d/WsuIm1fMEZDWJ6tWz6cj0/7w66Qu2+8oao1F/KsFgcNwYNQX6eA+TqHlugrL2zlp8N9wPaiivLYBlIRviCVuaLjkhQJ6P5sXxXo0E8QWeb4U0oPd15+JDb1OIYywl7pI5dsxvxriPgOB2aaPW5KSiSUxwVxQflwqUXKpBBfdoniI9J4tz9wi3xo23hFXxXJq6E3pyIBrE4qfwKAEfsJqD3J5Wd88X0esu5T7aNUZaiwGQeDK+ROTw0IPvGtCc8HOuIdIjYLJ4THD6bwyBfFST4Bxh8OfsfdAPinNRCULjm23KErGK8Rwv0Ss7VZZN5TIOBrKp36tupLIiJ2sBAPtLUH2pWb7YVQasqxlng36Yrqwrgq7soDSd4YZpDorGPlz4y9IZJfmfG6IbKKtSmUXBJ1JmMS8KGFuh90q2gpKGfaRMqekXX2Ni3oEHSYfapM+DsIo+ZPMKMYc233MUKR+PrV1ii/h+5DQACQ3gUaPRyyL2MmRR084OYLckq5o0mv0juvxMbdQqu8quCqTqjxG4oQ8BvWdpJO74KbzlttQbPdoF0QNTqqEfvgedgNNy+X8E3LqH5uB3QQvqqMJh1I76DAFu0w2V3hMjfpTwACFDrdDAPQuGWRcKIOwms0Upq+spxcgtBPpsZiCjeBG8XDM6X20LLNqvpqTlBOjsaCagGyHllYSgjeJjhiEE29ZKZ+OrxQD0QRVI+spIFcLt29ddYZx2LMlYIL+yFUEJ6w6gcSSSkNH8EEsYq7TAfEyocbxEmfOcQuJCnorgboCIR88M3Nsfybtk6ay2zoGtcKgi0/yv9IX1pk1uC6bAmxprgsjfOF6FWp5orDBWyD+J0TEoxO/mnSCB5ORDWs/GO0sH1tY06WsayyN115/fR4TCzHfrrnRgY+p5ynu8FLGwzxjDB/UIsjRy+/wkUaX3TuYQetDpuSTodALQgheIy+KLQpfq45W70SecoJxm/Gu5Y84X9e7zvIcj2TSK9nVNc2r+wVAYOV97a+EjScumF0dTsEAlAGfGU9/qpjS31jmoGYF17IJsIb0PZ79BmVwtrXi7dMeBtYHTQ3WctEyiP27rRQgQaBsqbaOAvRICIzQQFVR0j6ONXAJh6wDL9pduMSbxFXMR3s/WUDGWQIe8Ey1Q+RoaB+a/6guxW3BasPCR70r0dfI1kqkgBE7jqthgJCgCSP2J18lqw4y+83OWgojlVMpqMQCTjtkgMH0NYNf9RbkDogbsh97x1B4hgHdGzZvDYVbJ2kDdrdfRRGz+qgbLRnsEmQFMmd/7FQ5AGynUtOfiezm/KvwlDVX8saAxiq610O+tpSTt2wFwgkDPhTsBggOm8lvWX0UCNzG2gg4njAkRpwt+WInoUkAiEi78l8t1jq8cqExT0p1dLXWU1emVXO0Ed8l/tNZ3+X69/yM+eQjfyFrkvlbLTyu8mv/9TpJAfHFZjaeR5fq7qMSxnoE78EuerNcpSZ+v9b09J/mSv8NW/AUKlkUyOWn+tMpkogEqZs1lbO1DI/9kBbVfFOSVfQ8tlDALY4+2jSOSCr3yRadsD3T6rsf19BnymJWnc+8hiGZComh8gGswyae5U3iBwCq1fzvsuC40eUCIkMUqJsj6ePMvFpt1NFWaPJq4xUq0NwsMWhjG2ioySwS9+YGb1PmCnzLriHy/O/B6mSek1DS8e8z6CCRho/NW5RbotXXE/IDR/pMRazmqeiOjVo57oW1V6kon5xCRb57x/CgEs0HpXPBLe7zT7MerSsRogUF39MtQkdSDXdoEUGyvno53ohFx17aVVif1kGjJZQoi9lZUExNmr7URa6vrBC5J7m+VCSEnxhHM3wXWDV+gp01azzmFqzRfasBqSOagK/VGXQjrSh7Xda762L7JHGIb5mgV3wLWE53pCE6AwHC2ytGwfK6UfXv3b5PS4VrRobELpJEOc2pakYQTcuSuRCMO0inCkqK4x2PIso5JBJnvaJzTsiHmvq7BCmjSAxduiiroPl4uCSrsOlulwgmHGSwRjwRValrQCs3M7F5ZFnH+p4K/TErhJIVys+RvjkskK0lOc8cOPJImnDmVEMlT6tbgwCcs/upHp9QMIgfjWgbfBqz276dG58Eb4DXDFQ/MAwNxzEBqGDKo1+TbZcNQH+/YiPvKoKVnc6cu+fGq3sORwjLKtVxRM5CfigV4qjiz7aOfeB4SPkwFCACcXqbNuhIjQdC+JkPs0K1JXJSxuxjlfjGsPMawgdsYeGlbSiSg+8tOjPHZODsJ+auewRsJ2v2T5L8es5UFJValAPjejEkpmip5E4ylCDaR0PXilBPu+9cCCq3nFQGfLHtlY7cv1jnvnAg8CS+OOcwpMDvOgeECjLReFR+3Prr27moukJuOs0JqZ4JF0k6VIg3A2bhm4f2ASbftznpSnVpW270IB4RjgMfp1aXnF30XLTNOrVZl9n+/lMc2k0tV/YIc0cs7M2xm3ZP7FKN06ZNbIItBtXqtaGcGUKMQcTX+80fUoeY3nLpIVhb/nXBezcD/M5W7uFAmC6zFjVWhVCC1oehQVGqXrQOPNi+zoCQ0iE0DRs0GHIInHw0Uq9uo9HzJR5SuXEX2ytuHuCCk2/vEV+tgesG4JaZE9POlkKM3p/XsRD+/oCOZ5WRI5gOfrqcEdhct17d5cMgwOEIBuPjnZ5M15t85voFqdl0gZGgMv7YjDpXzLA4datywacOnN8U8yheTDrFewdSpk2cB5ISl8xWVlUTt0ZVmzIhXyNqVWypLLcxeqK6DQK+eEPghZMIIoe9gmRAOYYzpcCWFtRQa5bUxQyk0rTJM1cf2fJ3st4+ZQm+gd7jPwNtsv6pLRM3ru7ErH+WjXTQ8ep7/dLVnQHuDNqNT8JZRfOlNoDOUHyk+iqMIWhUqD+uzT+3Etl7TJHCBMwbUT10b8uz0stl3pAjWbKqsmSZr19xUuTnNXl0XSZoitPiIjpSMImTZbF9QQZ5dQo2qEGfR7sR7rSr4sKMlGG2hYL5GTAsCazNX3SJP+AqEk89cMjH7k3UsK5U1U3wItFqpKMaQmDvSpJLZ4bRL3hIcefty6q5Kw2qRgfl2pMPuisKCmsNeQ+JzZuI+mf/x4TgYbNAY3dki1pHI/o1xZEJFI6r+Pa5REfg8wVE6o660gsF4YxGkz3UHV601nulwMtV9h06L2aIwAYb+i30raUWGfFrmDnhP70CI0rTm7txVR6URW6aoFgDo933Mr8fsad9udUtWARu8hTxJc0+isi6GujX6SwMsojGdUorRuabmvVd6tU7WAYSfzEis9wNgata+sMNQvgbe6c2PNSNNX2L14QycqoLMG9ZuCW2KhBXo8opZHEBK+Lk2he8CfwedMbDiiY2X4vYb9PNibpVb5I0HMh/oxoymgUjIUai3bv64xhQi2+9tY3tW9Gx6BeBgVKmFbCRapYDiq1TRtQbZ8fVRxTuyu1+G1ZMikzapstHKdC/tmxvbfuURxxGSt+8WWoDstidHDZ21JEsdQVvpwDln0BsEhfNNakioCO0RsV/tr8kDu6urL8+4n8TZ8FK1zZeWqN26WxFqfXQ2ve+I1A5UUh0QeHT8lADFMa1PGZrBA6uGpbFBPurAvZfv5ZGevdbqkdnzIy/+1wY2IP42x1irvQ2LTMW4HinBXuo7GgkV7q+o/XeG/eEeno8GeadY94FHhIVYQr5Hp19dlOED8BDVNXtxzdDzipLKkSFz9riD76JrI01iru3rMw1Np7khE1H7vGWCTf3ifM5H1WLMFl72NL3seFEn6Muf3kgHS9t7fkbANUdQ+tit6lvR2voq+40WZF5GBgTyK3roBBDt91PCpgzKU+/pgjf0Vw3da6ipDhF1JLWphZIJXpALs3zu7OTkeMcqaqRyGtZjjopHY29E6l/WJ4VMCIPpStXyp2o2e+iLMoXMTf626b+fNFKcKg1pkfVUEBP+t1m4NnqdsdmfmMjy9vVgefpzBpMG4nVxHtoZ77kWvF21b0utH1sIsUjr3NSVjyHdP9ConhKYHfv+QQSouCf8LWvESa2tcWk8EQZf6ANkUMIbyuP5BmOsK8B5UVuH0z+ZgOo9Vv7G3pRI9iPVpHjUaYYYceScXos84maUEwBQLboCxXJJv85dIcSZMKj1Pf6dOFMRO1/I9oPkfTkD1oaaQ8yGOkaQnFlYb0DR2T7AWvGWXJRyjov6He/7T10heq3U622SnEKyAjMgjM1HDden8P/6dBuGshQxZnlY5/FoxQWSwaEWtoPDGNk48TdDmnT96f4Cbuzx2V+w1EHXqnM7S6bGeg8rnPMVVSiYWyITjzYtRbFz6TLvaik/SlQKF+jrpva4kO0FizgwpvBiw9ClPUZ7ZN+tmmXKEkAYKE8VHg4fnAdVlBAHGVy9plE2w0gGun7/7tbJd1QR7Qxei5Uo0ejG5Wl4/+90noSmeh7VRf/4QsXezRktNa6soM8cGM9dMwiDkGgBgKiYomsn5J70GNt+wxOdMw3GCTFTrOzEGv/7uZqbMKSpWxMgk3lDZo1ZknaUGwSfdCbLNF3Q3TnbsdjRfV0lr6Jv+614Rh0Dn+UDnRtCaAwB3uxaTlcleoY4iLTKrJUvKdfmQlAvPCHV5DM4bNa+pYo2THaZo0PsN3XoZIV0Oxdn0iNWxucRI7/1vC7gpADTzLdavRlp6EbwNhTlIvU9vEQbf1heJjbxWZGY11mkMwPrhgKA4CoZoD4szBOb96SDCA8ElE/EJvFAOmjb+jZIgCjWoBh8/dGdj8mknTLE3lDLU701pMJy8AOcVS3DAQXqkBxB2CXnIxEDPgy7Pm+pe0ZVolWcgD2avsO6POCT1mcKa3DoHwCbdA1MQMt1d+STr+Xq0rUKnlCKalSrHJuwB/FoJeqO/O3DppnjwGHV6OkihV/jzAdKJhM7CoUA+eu5ihbuuD6HSz+gNvLihPJ46bmPfXxoUh30fMSWJdHHT2WvAC9dqxPpT5vYzZlpfjFvR3VDyng04EVaA2cGuDo1TF2bw536N83Hf971e+YT06cLW6fMVMEUTFocdGZMxzkCTmsJLGh8x3oNPjcrkgbq6k9ssaU8r9u9FHfF4pKdglz5HMx28Kj0u8SqkfHMcT5zXlragIgwmGC/1c+RyKrw2wcBh946oTlmUTZNjjfkgPuC1fnPPPQTjr0DcbrXYXwZ78PZusLsJJBvXA9ZhMjDsMvg4JdnJuVrssKMKau4NoC63toy4hF7DDxuwtWGkQDjZa96M/m5gnUe8leM5gt0ZUT3YGoWLMfoBHfSsoXOhTxuCytS90h+1rd45OLETcdvP+y1CETMDFWesnLF8X2FgT7njMH/ej9AAW4U9LTsNc5GRjwo1mikhaFpFxj2+P7Y1ddf4Snj+gD/YP/CXIWADncSwfr0Ss0no1swGCBnkXbEDSX3MlemAFkQvXYgXLvPMm9dhWx/uL8almsK+vgqDJwpEE2lQA2Q5uy/KcZ9oyqYJbiYeeSybY8QerPv+TDAchvaIlfdMSn/KRWUobrfy7RrS86UAsJLj3qxzP71Ch8x+aqpU1JwSWWiiMdFD9h4jLMi+HAehglRapQCM1OYrSLfGpu7Tn5xlSVooJhtPUuVqPuMeIkJCWXcI5Wee6Rx67IJxj+sd6/42xFsCAoSWU4ibEef7OvvPIpTU1BUF7f3j2kOzEpvAl6Jrl+oInDWyRSvZXgHc/UCuPx9ZQiOuJWsntQPd3HCsGK4Uc4RhZFgzTHcir574EHcjKgViDSiuOvDSml5Dixs5nhsByxkF3BVEVp0gu1C0FRFvqzrRtM5xOjFK0Kqg4yAy/kG28JHVDi0stpA6WJA9pEVPhn/Rv/cxW53vWkUAcHEbKHdcaV0iE52ZoSUXHbyHXjnMf8QdJB/lSaqhnU4ljhTRvSm53lIfGhjM/KgTokM8NOwgJsKb7mHvt52v+wERlEDYOGUoI2127iXYl6peSihM+Q2fZOUmXgzQeC1EJYkZOWouXuOFs+XCEG7+M4za1z0RFm6ytHQbV1rtzCWIRS6BkAU1mUvYoUg8XVFvJSDbMfLu28z9ABoBzkbrEUXfkuwV58cl3y/yBYf9Nr0/Im5knIOWGqlAKM9O9/ff/6DBIveJq/RLAOjPan0qq0KawgmIPUf4t1dDRZeRlI90ZzmM0bbqKXVj32oL7zJ3I3brdNMSDbmbOCcxP/DL9KXXc5iOGWfGSyjjdtMx4rfM4+K2jlJ2jmB03yn1hLfrAARcNSvlIoE2VWdsaSqqK51XvWyc4m2+Sl37ppkdHehKzkk7MwiHlldkdBlJQJ7zfG8/wASy8a5VmOPPRXrL3LGuvhzeMWNrOB3cNUYqwm6cjhSOcN+/nf4pkg8tZ286s2Z2FnXGhlIpHOvd8uY3t44r3sJUqpiEttU5hO74UyN1B4WytYGufyI4+6xuGxVqHNd4jJdLbqJEHDFAvo8cNt7eeUvi63xrWmiRh0oDhQA8SUohuIadQMGlKATnPssyVQoF5nepEuTjWFza+WbpZlhibuJ+/sjBCUn9AA8k/fgJZKR4J4VqemwZYT1OidqInS/KMktiDVjQG90o7PWLdXhlFE7NzgcttRnaBMnPQnVS5hQJwKQhxzDZuQDBptxQ9XSy7Td2qXKLWar1YV4BvdJOc0eqFXviCMGZVB/1U5P3NHg+3VbBstZTBxwl+CijSvSMkN+J/zMtKv8Rt4t02OC32AvC86SKNA/dGgI4jPr+9Pv5zNihb2gLuEeIHrJU6OwSQkGnFBg5dmeMnaUZQFGMGt0wS27Pr5MsEnMMhT4+yb6gZi45o0vE9top6kbAY2y5jza9c/zV63RzR7etldJq6hJrYTAEtu25PB9/vIcLSnyOqXLiTWF79bJXQZ+7qhl55IIKYMOvE6Lk22C9bJRNk0f7AcGOtJgbGghW0LdRHKvgm8TSnNSnpHCVk/kOlHE+1fGgW7VZxZRNhmJHIW4fE/IxlK2//4v5W+/HbmR/DtxqIaZKafakZtIfVYBTdKUd8X/gK70EBhhknUcTghy9StapDjrcm1wKTwQGb8n2P0a+z1K0EZNINo0X8Png2g37fDd9ytGEIBkU+ZT9qnOvQ9CgSo8A1oI/DYVo7dM2rUxv4ggsymDygGGPcFs3BBgqTpMJ+UjwyYp+p/Tny9u6NM/lKFSdV7j81zZiM3Xdn+ouCHRuwxtaTS3TsSMWi5KvzyC647/DtMULtgQYU52hLq5oArli7P4f3PMEoF6hAtXR5hx26v6jx6bFR/InzFJxhp6/0LrzjwhllnlD5CnhaB588IHBFo51LcKgO8vM9jzjiChB40xwXndjVkHncGYM4rWD/QS8FBb/HYK91lM88FeGlJ59DFwjre2RYuU4P9sdh8l+YfSGV9KCsF6ZRbTDyaSLr8wL4H4YQV+KTRXHp1shJemWeVLG/8I097I0fB1PQJNSqwcAXuKDutWyMthN5hFZ14d6kSxU9YK4+QecYv+Y6RwDlimh2xVcMWyuTpGfnnKwwSKT5+br+rWuvXPL0s8vXA6rap+H8wFDmZjslOjQa1CBKw1Wp6H78ZmtR83opoPUIyF0siayztc2cjEWkVTbJgYuK6Iqv+fcMvf0wsy9vI0Tkx0LInhx/l7gScWYGj7CvxmNwNeXheb3g2e8cn7hlPeIyfTimdAEL2YMbrqlfPuOhuZB8K0YbStrTsZ0LkM/S1z9keQoEL0Zn5O6jQp9h98rXuN03YHT7g2VBlikTYCfN9HeV98Lboodpl3PJh8DiG5sicnznheOR9+LlrYcK+gNx6P34gXLOdqIYpH5gwhmtMhosEn0A/rcdqLv6GLhzb4WzP3MENLswI78os0oZhrByx53sUZYttevlGzaCDkcZgs8LZ4ndsfV//CxtGNhKOxuq3m4jXUfv2yKG39vY4zIFqvRA3TXwgZyk02ivS9nDmgAcMoVt8tdt+UHqzlarW1rDDMnWI+VshgUhhhz3EzJTg679b4qmhvokjLIw1mXYPE7DLBGJWkgsF9T504IOaT9VzNREf8q02Vr0ChssVzlgtKkH5ISYaX9oS3CU1+OQRUrjM/gTKLHiy5hEGEGV4NUCxOopVNNZx6chNimAICGyLJN8ZhuEtGA59uNjX/wQ3LYy9HJDJTAxCy7+pd+OXH0ojYa2lllfWto3UGaqUo06mxhdK6tTFcyD7qkzR0gkejEmqrpoDOjzw78aAqBFVx+dZIL6jPMIoisedYVnGPrxuFjffumfuKyzFAgOvt32QKK83c8PD+SR60vEuX9mbU87HGKCEea+olQ4m3HD+So5HraMeNfbFHeENDEnnF2Fnp1Eo1PM6Kw5JSFIpFLx7H7JmXqnpTQd6L3/+o1cgvifKGrpzuUxJrmrksxAWW4aS6rvCVFxZODSL+Ql53572B3y2Fcfhf4Q3uEXd2zg3yhrJTW5S+1VDXnc4zeySbiEb814AvX5MHOwqaSbIAyJfkgmTafqgoMmBKd3D/Sg/+8POc0YbSNMSl8rW4ELByFyhBjbYfwQ6LOaCSM0T+b/FRuK46+e0rddzuDBiTg+txjg0FdoR8CXJjzAsn8YBAUR0fgJ7ns4j8WTm79BZgZMGrgRmwm0vdbl2ym7vPB9C6emVVUDOkIc2DMDh30yPqczaFxutrK9KhFYUMmektnmVBaJaXKgx5EJFNtCVI4OfUT+FqmO298iI3trKvcf2HZelgpM4fgKuncRHkqSCAUfww9GlfI8BNXjo8in1pXTpKakiU+sSy8jxpFj/TjFKlS7HOT5F8cKCsgIltGsNx9HBRrK+MVTk7w6gkYOfCS6NxWCKTDEbAxG9llfck75dGadgy+GUOIDGz/XtvH8MZlTksY0P1F53CGHfsJW5q0UlfWBeKQUn5nilmLqDyTtq9YUVCvU6Ob+OFyHU8P/psdjCDhjQL/sdxFc8Lm5UTvmvcNfMFJV1iL7sL5ngJrcpJ6D74ObXwT7PB6d+tOn4Zuev5wotz6l6v1bWhu513iOheuCVCJOmuvnUT05yxtlRN5mMhUibouQ7tjOOoeUZJj4Jl+u6PYcIMQXRB44D1PAWVHJ3d2vBOqxP56D/fich4wVZUd/Nr8WjrcCkKlBltaVLxtMdPXPycJuPKYXGDyStbJsPKhKuQ8dJKOryfnR4GxphnVHNbW/4rVtT/hmFDiPL8yotJo5Vx52h4nL565/y8ZaX2kWSfmsIXwndhrVtTIafkaPbhIKy944hUREjCPcVaWTh/cw0uYseGoaZ70GnFecL/sz2BAdKjSXVgnpMAwElbub1cUpjjc9bqSeGHz/uU188MEvVQT35CKL0qA1QrpDVMLMoSQMmorZjNXhJTt79x+6P4/PEr2K7G3Q+jyKVwDf9URPkPMX7BOV/ksZ9auH0L+YiJurI9b92Dj1WQHrrBHxqVplUvfaYmWDqDPWVWS+54qHMj5PXwMFiEiJf2Z5ZZtA5NgE3Ub8+n8wIFFbve+8hixseV7vfJK+leddujzaZVDgxVzwf1fqIfBX03tAQ3xL2eEdHwvQD2sYkyAeAljvNylZobCNUFsRa6DL8B9+iF7iYskdDx/SBwIk6hBUzYhaNYnbOuSnaSYbJQ8uER58hz0No4UJO+Ln5doXOWQU0OBeFFWJqsnNNsFh+w6ymmPVxKlzthkWLVU1xLyFQltm/IJ1epejIrQwlzzm7/5O0NfVl+dF/8ChF1tEqBAe3MF0H808szXE8miiO+xPGhQv7bTM3EBn3jKq/VaU4SE2uRsI16/nY/Mjl0CUtdg34/V7Pv/FgEzkuGCWTca3VKu82VxQs30E0adjvYQ6AP7MVXZImMVqHfVF8bhoBB+MgvnavAs2q2QUzvb9Daefi07bZYMBszXuReVMcXxQGAngz4rwl0evTGsmBCWAxPa0xcnnFgyix6hYJFbNSBeylZ06DP8kXYZ9dh2RBqYzs2aPehM5q+pLYr/9XgacU8DwcBI/heslclX55E8FlraCndiJ9ofW9gLq/2dmmwieVRZsulAdS1daEPzkYEsquFyb5UkmEbniULsH48fjPkoWtb2ZUJ6E6cM9hrr/FEuqGi5coeiLBBhH0RkZcG9UqmzwJBjorrO0C8BSaVOpe7cQFdKZRpsy47DJXqRK5k7oIBrE580nNK1ag198s8poG65A2qN+3VpyUH2SQ0xGjQ2B98tOf8aZKwJzd1DIUrf3+YpiDeNWzzhRHOUFPfrCy1oby4Bfc6q1FygfXXn9Y7EqsDKpqYePDqBDrpR2b2l3UaXs1UQNKhISWyFr/gk/9RnuvOokYEKmDDX96fZzQciYQhPBLMoxFPx8v6gZAHsbY2tMfanZWHcn1l8oEnCgjhQ/BdhrB0w3DXPVTYM2FyUPSq0M72MNy7hyTEZkFXU8H4Lp+YtaorhI5kJF47h6q3dPmEt8aHiGOoWU3eK8MUQL2V30dDyZT3JDLXwt6RTEc5Qd8n6+YT74Wxgvgmgq/VJiHvVPDeSpxyXrCQqlKie9k6jlHSZh+EgnbV93hqhoI517JznDucbxKQqnG9/2hgph/1jIVq+hfb57QzdgArpVRzgpTy9DJGidnrmIqbJl3Rcx7o5k4QC3RB1isdajPLYsXDFdSQPhCejHj6GL1uUV90VgCcyhUMF6BveE1mwEkkyRjzBhgBBGId8FchLeqAvnUe6PtjxMYg/N6Ik6wP3WTNYz7bZ0mkycNocuGrR7OmzeEV4kJxFh6tP5xpXFXCVmv2ePk9/9M/bsiPCgs6x8mZ2u03++wQg/r1JIC7kSqFhQvNdh+KhD9uaiVUXsFC/T73IIAYTvr0hybGywlqf9gk2Qc50oc2kQV5NoN1AiNoIdWtvlNgFQLD50SckBkV9YksZBHmv0IpUsFpk/c2nkMciehnkngg0mEbAHBUL73zaDpIILmceIrvIOswjLOgGY8DFyowU2ebPnCAVMzpT2Id/F4iDuLfpnZOVTR7VPMkZ1oEqa6GFgoPVGXhJOX1ktOk+MfN9mEP9tXR8IFvVhj1hpN1nAlSSCgzMqki9fpqwy/Yt1kLPnB12fRfK4oJYFF/xwoYYGi0nL/aTqewvQIkrkszxxX2tm4dD02qTZshYpROLqc/Pwu+DekxHshW34PuXGk6gOh4DtnVR0NpyDtfYx6mlvd/bEudhGdAKtlV3NhcbrYIVtUqZuCB+PhS5y7dOss72Hucio6zst460xFf9NfwudYfWf9okUOLjH+735NtC9HaHhhqb5lbjmkUYRrN0UKTEENPYDZsqRlZd6E1pNquCrqj5JYyvjv0PRQS614ae8Ue4cddSQZFLK0AcRpj+iDpGYZCmTkhNm9bzXX9wCxyEbYQqCIZRaeEbCsRGiBSjFAEw6dNOoSLjp0lGySvkbSQJkDLo+unjSvB0n+5vWFgAZBT/uHOx5U7V6Pvn6AL/lXAIQJcZu2S8TDseERfuD0pn0Nduz+YJ+kuTa0hQWUl/THG3LHEwfWhaV0LCeXfoyjk1FrTrAcifgYCirlM11uSBNuO00WcM0z4W8y4ymifw0RYM9JRz6nZdBQuP54cDRbDaRmF9JG6KSDQ94xl1a9bMeMoohz5wK2l2cVx3y1RxnH6qbqAXFfK4+lK127poBos9jE7capKfhOWL5PjWAZ6JqCtkcFvKwayEoPm0WjcN/YsQyuq65kSbn4wACSAAA6G/pePthgU8B2nnSBP+7Vmngsy3jiVp2lnabC86fIuhi05rgp71svq2JSw6G8ZTR8q2QSAdgZf4WPzdU0WhXAYGbayPtQ8A84qDEjJo6pVM5JfsJa/psXhRi9sudgmFW/8OdgPBE3R4HGBact2RlEyYk/MwL6AUB2cw/SQ3V4Jv9pB3aga6oCJmn+MOxItbrAK0E1Tlrn4i8MsOo0hUjes/qyKVMSzsGTZfy+mwGFwqCtBc8nRl3dB+BKyRo2+0IPFMN9HyDsZVkCsXaK9E4VRRMfHAVu5CV/ODOIQPBLHRnA5O+W+vowGNSmEfwf0NFE8CjWXg7FdEJkBYrwh8/c5povdXkVK6wGLTOQpk0RwY9xdBTVD+/em3lT9lgOMMoQXn+fMsoWPfXsGU7letLWIK7aArTcWDwT9uXakvAYOgItcARVZRodpwEuDDW7LkW2VLcmEXxXQSplopOYg0bsNxhlhdkbc1YyhFs9uxXe+rXjbZ7qJe9KEaa7K1T5Zho7EMWsB592jJoa9MYYAFzTYoI1ZMr+ZdDosyYs4YR8+32hBvrBzbb3svBo2tRjhsBswNGGYRYCTEzSZ28+uEbtMpNozR/ayMRsqRom+9dilcJS9q0AlZDfsTmk6vXoKL2GPEV1+x0qTsD1OF6LvXxG4sBpRDjLTiRK+MClJ5bxFd+pr3p/dGX7mZyDQPgNiXfM+FlpfuyOcXlk1NsjflRYLCIcgAAk0/kGt6iF3zoMoBLXJzXxiPcZSfUYMWlr49315nZm9S92D2cl6UBkuaflOayIPbBLFPIFyuNxJnkoprEutiH+AXtRPIaA3iOQkcV87+SRB9N3fwYsw2gMesPAGwTse/nwifhd9aJJcGFmoEequC7TMr+fuS3SUDuSBbfS/mP0aWqu78/f+JdSYd7pkxujvC4998nSgu60hmLG/CDpMXpDaDj+SPE+pY2EC5sg0SzaQ+eD3vpG1uK4/VFpN5PENz4SPmvnBiwVHLy7UV78mJEwCAtC5REw4tKQcPyxSXBjjyV0CRgTEpVMiDaEad8xjlwOAv1TEoYVc3t9RJThFMYQazJsktfQqpow06W4JHiqo/NVjD85qfspwBjtGsnotGt4qaymvJiVxEUlolnhlTA/zasZnXqu5GxL+JtbetJOlD7y0w8CojnfB8GGJgBJwraKFtQMjpNSA+5TKGKoFb4lEtTQMSKEaRtTKFcOet87admEN73mzPT4gMvMBtBdyRdXvOB2kTR7PeNEnOKP6OojAA3itIb3RdNjTvUGMPQc5c1i/Ls1NQxw1LZ+TldZWLwKIDZXk8nik380Kv7lMyzbni6OFX1pguIypqzZVY2PMlsCR93qOkeZr9GwnIN+Tx4R0PHtxEfF/17xu8enErU7rIrP5bAH8rk5mYK7yp8BvGmXqRYg3nh3IeLS/aL1OkLk+5ZzeXDsbw3VvDqnABxPFPoKTjqJNYxNn6kK9Bh2444/W1SXNC0ZejVKsXLI1vMe69Xljfn7nblUdNkmdoxUH+zpT2rkHGm0p2+n7RPGakJahgS/V9g4pQHQgkuTK1D4N0TvhckAILtB1XCqBu/JqacKOKUz8Ho9ZyqBUU/Ia+M5p0hJLo4Tt5kvCiPPOwQlIHTeNI5I/SzBnQmqSL6es4CCpMDXtDOF+jLghyoB9jzZhURi4kW5FByvSZi9SEgAakYs5RTdkIx5bDZyOJkVVj2Vl4HGdEM9KmZRYxLB0ZRAOdxwUkH+/OQIBP6uURLF60DC4T+OjWnXJVIo6PpjnQylaHrp/lYcDHHlOL7QoTCsR0UTt9sfkb/CErZnvydUc/4Dtw3IQFHb+aCY/natSBUjROBiLUFBvVVM/AJ5yD9EUqGDeyzBSD5RriKFVFBrjrZgNU2Ob6OfR7I3BjaySA5Aog8aDBxAjQqHk2u22FBx63kRYQvC3fXICxZY/84fZE8RKz0OaoETtvNi2kei6TfPGzmj8Rr5huhfVG3ZoZL/AAH3bd4MpfEKpXQyp9pm+VcD6m6oWCv1FUJNl8jxz3h3vROikQtkt3Kn2ZMyxKns0ZtnOaI+uSXMiu/qOeBJAVuzjagXCz7OXB5V9+xUdUfzQetFDpLDWHckWg84h5qeZosW0nIu24/9/+tf5BGHpA4GlIuJHe8TtlnBAMTZOsWJYkyeLbra+JtnfqEYfFW8SgDvV+jdo4L6xeytfCTx/cJaBfLO2FnIbn3oyA/zijrlGCBTHGpz0N7Tb7wkh8anmY4sZozDfG8v37rXmdU0sDMzSsGZfT/L4AYIyhOollh/V/S8CzAVM4p5Q6IbuZeibnwZGdJZo/ZVzKFMN/PvVfGUqiNxhabB8ek1mPXlz7Vg+M+9kOs5UKe1P9ln2Xyt8RYeqham1jc1yChQaQySuOav7uOwK2fsVZC5Dw7gVpm1kI8W+7443j04WadO5OmHhWtURRHqMgRRGGyLefLZHJmsG2ElPgxdmUYE4aG7IM69QjYDwd/JIrTXCZ+hhKu2NdhYJuT73v4hGsrsIduRtTfBDph2+x4ZVrkroAmZq/WT7vdx5HomdKPC8uTSYryOUwCJ1TGMNGRV7Xsgos2k32Mj7cTImKf34SfYys2neW0yTgv9vn58PN4XIM1JAf1jgQD3eXQYZduwskg6FxTe1n3gQIlVUFD6JDYAiVao7Y261eHdYFcMKyH72gTTCyJIBizWJl/YcyecX7uBI6LSrKcu0eHsBfUvWi7poarXhb4HCsDqFDNjtowHQIm4P2UDZwLi/YWbAhXodXHITQMfQej251OjQBdkIMDEiggIQOz1aOOh+aIBSKoWtW6qnT5O50wDojDQdAte+29L2jCgCDfgGXIrzP0ibAWzaa0NLTa6GCnyGNapjPm+khbaiUa5PzKfTPt+6IMgttTabMhM/5APn2PUm3AlEvifAekzbCgF7XWERNEqnRR0cOHsPk74eHCe0Dd9FRFPK/ykR27FCsu92l2TGZ77LTZSrN/JwhoaLhbFY6qt6HYRBJDgbPlNULqYT/uEVT5lYcquMJm0NL15yW7j+MS4V5u5Kqe4r4jPT46KxAj53cwkI3RHrx/H/LorUcI4MD+HP/c3EpnLgX8cGIqBtSxK2CEk9yD+GZL1BrO9tsJ18VtEQWVkshelSzzMLQEfN1eGcArT3thmlskc6qXM1nSY+WzzlL4kcw32FKrouNsqiuPy2p5LmqhtDcUt7wK+vraxkGPUgIVlAq0iQZxwhfiUphPptuRZ61Ovqxqqi0KnYyRZKjn++2lwTw2YwE2S/3kTR81adaiVTCB1uyRjXfW6vLKCBn6Sw16J7MALLkxRsn/HkNGTAvQ1PT0Ttvug0kPId1TK4WXw9w7lVYEPHJtjhOXDJLSk2mX/KDvPa8uuBROQ7+lm/r5wyw2fXnalfyH6pGXDphJmI4T5EeRVc2IpgjXz8NK437q4w1ASXDwhK0y4txCPup8zBl4BXYt7IEA42MuxiP6vNqBaR3nIulia42vJHSpEonUcH7NwAaUVB92ho984FzJHvn2SygBIUxFfzGlFKqlX8yBYE2sEk3sm6weJVoUvE9HH/+ORNj08vFU1Y93n7927PybOlqjH6+MPTtSpco0F+GnCLp7VqVN/i3XHlV8sbJcsn9cp51j0FTgaWnFAA7osnp0xE1FMbCUva6jOgytWjm0k+YHO21NwkaU8urVDB/Y2f4nIQoZRv1z6N6ChnAJaW9cZ7hdi3+JwzSnj/QTKTl9BDgwf9FEjDHcdlFWCaWiVk6dHQGOk8aYPL8B0W0Kx096I0KEmf1gkHhMRKdchixTPxI+eWKZbG/4S1G7dqhsWzd1LVjrVSjLBQirN/yxKFkKZPCt3F8SUGNkh4qeLWOZOYTd8WCnYAomwQmrR7eqcS8N/+RKgE/Eo0znAaDkIbXISgck0eQKCzRTrTUCVymbvL5iEI3l31PwMv6lYK2a6MV7yZeDsIAWpxVJDlIyusL9X4Sb1K4ZHNFaPRn3xkG5NTETmDzip66lG3RLSZy8znLsICQJvb0C6SuQ6lsu3WGH8k839OblEhOoixIrPCpGC1zSoV0JyN1hFHYerY17+yA2SPibKSCyPq7dDbjXD4j++xfB7y/Vyi27HoAQYodPiskDjssk/YHeDVryDZ++q1KJ9+Kl9PQab/wfb6ZQ/83fHileQYYtlZK+48kWaTiEQXXyUkYgCMWAC+DOSyU17Zum0WY4W3MEcielq0X3bfmX/q1AcbnkBFLBSGStOqx/vmJshLTsQr7Hlegm3wuuSFUzl01me/SU2G8DDbLWt0JuJSSUZbedCZ7HKWUKTKQR/tlOYR++N+okr3bXjUg+nzZIol6by8AsJUYmyU4Qbmx62sPgiB+zCZRzLxFkSTxVc5c1bSsW6n9Kfy8ACyxiWutqYlJ5htDccX9hjm6GAEywx830e9y7BucToJUwdASntiaGfxh/vtJZpSRhfHZRpYh0xdr43RCo94HPXGoLD+Fy6SJo4dnZ7m572jzFa8kztnQGw5rkpbny3s+FaVi3G8MYvzxJikVpu4YPgMGbRQ4NmhEMfHvr/OB5mAicAWjaOCHInh56OMdo5sc73p4J1aq/TvO56UcYEPSiLt/MuEDAPJ+u8FSYRTJqTrmVuIEZXCjFTlLMwspEjCM2ty71ktL1ztQXS2iDZ71n043Vz/B97H4XxiuUphqY0PG64cgS2DPRHbWQD7APDb/n3TfDCP9I9LfsPtDfQd4/yvBzDV9c2Kw+1Z5t0lnNQ4sQYXLjakhAy0VT8mDSmRudvcLXEFk/yTrY5yAqjdrydYmHpYchpx4u+z91fcJy5SEjh5hIKu82/X/uPuZPMwEpKtEB9or813qXpEmKGQVS3Y2i3fArRsNMQWihbNWtZJf+Fa8vWaEt2oxl/FgIuu44tLt/TslN0ZXSbqVaL/XxbnZOWSPcm0MGC8YMXBrlm0p3VioQxrsoWYGBpuKE5U/vh2OMODeyQ/5cNxRw46o9erVHVTrQG2Y6/vclEc8tByWdfLOoDVlJsdTN2ooNcedtZmkvH0btuYXnRp5q4ARsQjejUXWnNGJHfv9l86qJoIbdC1ZOBf28mSLcKF68afjn89lYKM2f6sbJgJHniUmSnUXQP9iYwBEhq0NaOwQ8HdHCK55O7t/LoC1GMWoMjfAneVpe9CWMy0O+25AgfTR8PISTMAaMeSi09LhFuw2/F3nRGAMjzzwh3hkNdmJjqFYtZNbN1EJ4xIWVGz0aDTBBsQgWpx4TIQ1rGBXiy5FC+OzVOQq2qwX72n0uKY4FSvdEjpJn78oAxTaZ2mEy6K3/H7qoxPO95zYsG3mEF4qLB9S+2GMjE/FAfBFOSv/prQ2rH3GIJAiliXYOAOygaOBfJJOwiWj1fPqdqo37sOZkrZQbtn73DlNVa23mR8AgUYx0HPp93VGB0EETifUJL0zWmrs+ceP1YN7bHrBj7eqPdPC+sbY2LTN9jfClHRog+uBH3SLk8LvhHwKumjQffKr1BU8CakcGkNaARrCqaPlaYce40nDAgBk5PDNgIOvK1GRNGDCMLBsvbEaUkXb2qK3pBH6JciHTcVcosApvPfLEu0ja4qhzmm9YksiCehogQvIxx4dC6qzvJdDE+KIfwXy7gLog9fztW+H3alyaik1qQWRTeSWMMD4LI0hjcbVRC1rNtD6EUPvKX99B7WrlSeo1bCGAvByIXeccrzyN0vrwS/vwibnmsTnFKyo8oVILn9EJ7F9zDbCM1b6eKMHbaC9Ja1qPW+uCx+TgaJmjhJC07Rhau0zJbl7+2Qsn5geS9nPSSjExqeV58n2Rd8V/bI6H5gyApObeelRPneO2wfnZA/WexQR+JgKFiPV7VAybwK3oG7RQe0YqdOVf4lWlmkqrAtHjAiMVrZtqtOJUvY5mhcgruyFdiUW/VUX3g21oXYIEtfcUlTLiq6A9tWnk0G6+vWXuDGWcjxVFzk9b9HCBDvCyGKciC5uCCicpFyzqOpz5rh1lOiQWWVbvatRFl6q+eUW6USMrINiRqMNoLIFrHEpXPIqxEHtg0thHk9ffzohNZKXglmLAol96PKatoN6oJMIYbFYwCPW1UkKU9XRE5xGss0rBiOj/WzKtBtxd+P00Yq+q9ezdEqD3Vshub/36mBJpr5GhXG//dM0oYRn8MNJ7v1G0tQl1LAMMSJ9c51woVuU5oNFD9O+fhBV/MhH58gMLJvWuDdbD7NU+jb+bcrIkErxTE7FzGZS4cK6R0TwHr+slGKNew+wXvEFEj1QtJ6DjyTspTvVyvRxA5CxsbG/OJR/wJ9KWD2/LU3d27OyCdYEibWvyAiQ2dA7xsL+xvI68lFz0rdPLwbBuG3XUJ1yTKFfN/9JGhRomDaXP6D6Ar5Zm7UzZTPBzNHYKCqVy0jt6Eluj+bqp+/GservAVFvKE9pd4o1zB2Byo9YelV7Ywgkcx/Ja1aonNtnyrNNurq8YbfJTJl0LHVnPIEyKdmCvb5gt4T0BlTA/qckmlpZLw8CRplOwt2EwWx1TIyBmteYu/dcG6/7GinpunPFICjHuOqNi6Lb9vKIZh+700bhvopopRDAvwI372nDvss594w3mUyJMd4rUXBYfIGP+Nr5IJPWC1dIAKRQzz6+rmCHAJvCS9Tl69v/rYgiw0Fdh6FFbY4lGsnUq7WA9hUv0YuTACnJXlohrPNX0PtHDpxQTVNvySFwJZLa5Z8RiM1EUu5aaK3w2B04bIM5+8BhES6+xHxTrKDQ2K4oShrfHKKP9ciOXGmeYrR0v2w//F9vPgZ103GwxKdg43qargRwn8z/58+4kKL1BSxRNASEfkCwAwmwFIVTkCvnvBMzpFZ/7u9lj1cCWRo+18Lpeowu4IOfokhJYAJ7sSrBXwBCOFI/rrauTbViT8NipeeL1/Vt7H+HQ4ZUiRCaahdL1gaTf3IujLHoXHktxLDNvX1fXne7L+8BEogsDXfVskGBxlnNjjZr5mYeGis2u4VlUBe3IKu11TpMk6QIQxSWx4KLZ4IMHiMuH6/IiN6/rzRjK5Ywydg/iJHww3qcO8Ew9LVkZ5VRdSZCGWg5JJQ6U/qHp6KXEWuGm8iw+t0HE56/6tRpsKSGD76yY3mE0caZf6A9ZVRPUTFfZnzrTdE98ESTsFleCQIBctqChzOXFbbIzeM3VwQ9/efRF27QUprSKKRqWtt6S/E2nYXlkbYPMmzMKLht0suYh57nvhQ/iZnwc2k7gPSjCrRCWsh6gJ9ed8zzLBEs6mtLwMOIIivKMkMiEegDKmEDV5dO84p0wGJmm9JGvs+BJHYP/xiAu07wE7X9MqafYi/9Xzc3Dq6mEnxpbvzxnl4juAO+ungMxk7ppPOXisSmD9HkN/m+8XSz7Ec1wU8r0lUEM7i/oNJgLPaTBM1gR3wApmvuDlj/uZMZ3XWnG7qmySLvsUW/UQUKCxnAcPR+qxDKJCt/DBMT68xGT3Qb6m8Yh6B7fy+Pt409pWNWmdaYyCeroLxas9/UarOz0i5YT7XWMftlZCvaHpEoxesocpuIS1ZlUQlUf2ButGsAGlaCwKrVAP3jFmoXVropOaxxX4Ki5IaAYkGU9Kx4loi/Ni2QCViLCnvkvYfEBgqysPFXdNDoMcCK1HH0SHKE6gjh6BpXmev/+J0jRvqbqbKsGOfHhxgEfps99U1+KxzVmAs7CeeWBYvfo4+7fuklD+AmN60dBxm5XWe5tKPCeLOvBGJS3kgLZlmo2BlgwbMCyAt80T3i3h752ZSdGr6u8OO8/p0XDKbytMxK9P9jRoT1d97jsqnLfCb7+t71fagDQCq5hxAchy5W1ncN35rqAoM+UvUpC3Nty/HAXghIuC3Oyd585cQMcGGpKkqjh2fq5D1hx4Y0EYz4yX+LHnfMBQxpLDPhNIjvvTK11m5scLKh9uIreYLX3Xit9kuGGhW1b8qf1azAqbXonAb9ryChrHOEt+DOEXOYkECCkFlZ1EOlTzJOUaRrBoAcZVf4r89o3MdCQFo3HEHk+HxUIfpJePEimnrMu0SKpwQCuIIJ+Mpl0BE27sSQo41o06xjIrpNpl4g+s4pccJHwCpmY/ZfusETI+dVmgxkHh+5ihxeKy2cQfWVCAp0FMjaeCmCzMEGeBueIgRNQ6BSlBEdemGuouod3KSgn04Bb3A0CZSqPZORUo+rqH/+Yh1c/lOqHY8XrUepfEO4GnY/bnoc4QChF5AEQNU9euJKKYZOaISH5L/ib+1cqskqTP6wgL4dfsYcJf9dj7DQ7rT8lg0cuaYyxMd1yO2qL3aTb2Itx4eGvs81P7bzd9BoaoEih3A6gRE28O24czLb0kb7tiB35s7b33cDV/wqiVYB/PUDc/u506FWk5PaSl/Wt/x6Rd0PPSN5PXDMsmlO3/jiJeSG5Z+csvOxwgu7VX9Jm9FkDmipNRKRtgR+gSLzNYDy1P4KJjGrDz+3kxL2bYTHM1ue2ysNoI34kyLpt3Nsb52Cek5f7rLogLActregh+M9QFRKfEf067llcxVL8kgtukD6dnlU1lPjMsw+XJOPfRVzo+LDGREeXD2yYl8+ae+7kClt5ijJk/U9ZW1DaysdW6XLiCGw1eYag4S0Jc3nlHsWvOtD6Ma1a0AjtUqX1fiDqni4pj/+ZxNznEj9TeH4F/zY2JuTlRC6Q+u9ndFHwUANTomXJwh41KVUY3L9B++3R13JbyTs8i8KtY3/Mj8LvisXLd91I3cBnMmiA3YT0w2i9B1ZCmVRDMwFrC6eJHsccOhtMabWJamK1lpusfgWIT/U3IyDfjg6PHcOQrsH/VLbOxTE9nRqwV48qZi/eb6PmdgZeVkTbnjhj19XqD1bJlFLcmQe9ph6gfpjuZVYAutTMpGrFoDAkNlFAuZmuTWX7Ak9DUu0NujXAVh2pg9aHGQMcIKVgG2wtwgdSKPpWQZl57MslJv3/QXy6FF39Z1L/lwBo7Q87IAvBd5Knx/zKIppOIkERr8wnOfp3O5u2QjAt3SJxJVvuDwNfyTks2VPSkckQiAYvuN5eqXudojiBjHgzFBzfLz7dZgH5DytKL8Yn7Et5Cxi8AwiSK3qQc8Jkae5URM1rwiTLkvriEdmnEfDETbYgRCr0icY5wfirYDKGtCar5hsBVOpCMYyNp7tDsbMQbWhyURugRcWwENkbVgM1bGRsgwT++Xalnz6Viufw5BFQl1ttFyKt0HfdC/DSUjSL23gZc8azx0ymBHedIcxaZpCRx74SAbRH7UwvNRPAQQtvY5OflWTbwJMBlVdEXwSao/kETq6TDyH9c1fzqaAw9Zrh/6JizYvgKaHIth51GGoGQeITL4rrW7qfSB4SH4y9RkxkcWHsXvX5lDd6Wef6AcWoq9cmBF2ZZryJ4Cejrh+GqZLI/l4yvbtzxQI+llC0Xqb74F12ceXCDpLMpetdoAoob9cTEPTFA6oC8VwQ98Bu+2IOBhJ61+k4JeitMHKj0XktCaJwFiJ77UFvpAB4avY1kdVJPyA2wSXssXQFwkRQsPXsg56egN3yTMWUrgjxJxPozJXUt66kiH6aOJYeIGmbpipR7wPtc71NGn9E+Xe6XUBnNgUaxnIZy72y9+yIHXUHHNrH8OtwZIygj3LKKdkdCoX1E57mJ6YDrfF2d6ExfAfhttTO3DOqPeewDG6a+01IWrBEYBlcR6pAXiIGbm9k6Nw1gHouIYE51Z8avdtbTfpkdOoaWTq78nFGFsuVwYmz7ciK4AjwZMuEKbvB18viCu7WmowbQts5XgF9HUoW4twwy80BXU1c8C2+L/Z0vIu2Q7Cs2eEJayQutFI7NEUNDNXtuDMkyrZWkbds8tnp/Y7bYP02pHybwbUpwj394+l+qprw3pOFOQehgjrqTEvgcxzVsODXCozcKIBJNtaHX33UGA20pqYatWtTBbSri0V706yVk+UFBKobXIYHDb6RaIMuDcHrO7QfsoACgSzBHk7b1owXIAAUQi5kcJLRNrhMxlAat5Cf3znPs8R1pVMJWJnTVGHr2mbKLUU7Hc/5XjfmAvdprNONfWjmo0xOoAoXM8fhQqYrOFE6xhIa3PrlKYB0oO8J95YtNYOI3hBuG81ErPBP/HklIIYyZ77Yxixv5PoVwgzXUPEyT2DXBUnpHwiYOfq81sqPVM+WEYWUmBfJq5WyYgUOXAsilP81l8jd3FvYR0MjgnnIBCZtOkIL8sSlIcIBRkIAMSvclmBNH1nv3e7UFP91oLqFIIVE2fCKnJKJCnGYYPSMMKrbcbx2fSQF4JeO+UKI5Vzvly6AqCbYj0NPPuu/DpE+fvSl804thQe+Pu7zR4XSg/RU+GqL8Pf682p4tTvHh3zA09n46aAI0dPH+zeS9p5T2SkJB0I6l9t9/3N4aFPNJ30y9eoU7nJazHpR8LfwP/scxj7kibKxO3XQLZuzIMO0dXjjkSQA9A5DN+Ny18UHAq8gCFADTruY3W7kiz/8HACkgYRL3TAN4Z/GJoGnTpp8RVlk/3SMgPakk4ep0lUGi9yOO0dj0gVt/k5xsCHJ/AqB+IrzhqdJ1IWLtkATQZMvd7C43o4oiXYHjQVRaImgFKLDojSle8nux0drKuw/A93ACWEqO7prK8o/XXHGzhiMuF/ZggUVF64bc03QTtidW7dGfmNtpe5RWeFFS6TLrIdI/7uBPz7PMDE9gyQ7JNClupjXQrOcTMcfc0Eg/FGJp0PHe4emDUgNF6bROQqQVcwnpJkm7URpUYk0XmnicmlpMpRgcX21TtTwQKbjv+jItpG6dsEzfn6ePbewz74OPsiQa91Jmh003b6psrqzxMS1LuJv80+bnU08Dy4sUctMENtxFmLbci38P+VCBfq2s/TGY2ffIa5OTMO9SCtDPq9PGibn7uhy3VrtjdEhLsxKK9XNobcS/hRLE7cS5qGeR0jiYQZYkFmBiBv2b8NAU0+D3aHbhy1AU725cknkhZkyj5x/WGvo4z00JNVqkiMrO/EiNvWb3J1glprW2HnB4psR6jYhaZPObRLH6SwBHCXmGu69WOsCHqXBVpgc98EoJpmEHjNAfEuO+10UsP1r2CVBUVzKbxCm2X1bO2Twgxzsi7Oxsw3kHEvwv3wOsay6M7hnIYVBj0YLwn0m46dcNB0EbHcP6VF2484hyUd5fd7LrVTK8xyhX1Jq7/pbQBSzlr6wGGdRINc9Uui+ZK26H1D4TJE+i6pmt31vnQCgA4by/fJmSbkHV7nrzuxyZuRtgSR1/0dudOWhNosih03y7dPjqBeYhuHPmJDH0c1acz4SpHS98lhwJrK+an+UamyUg8nfsxfw4TyXRsX8/fwXUh75gLvpSK/DzTQUA8fm8fasM5UfWaSTGwygwrr0ERivyEKHl6YqyeVF031Py7auI8Kpv5fvqcWjXVdr41TTvr3J3DP99YDxoRQJGDre6NvSWiE0AnZRn+nitXS/oPdC+k2mXOzRcXC5hFQWVCGPDeyUm2DMXsjam2MTr1j2V75WHdTX9Gd+5pX9I2KJnC/T6lW+WHOlTuvl2PfI0C4tWeI45kxPPtrEdTfUKLQy2LnQL+NzeqwfMebMwVPhvfEtU3CMalt5czj7pAgPlKGGsWJGBHzWGmdMFyphofX2hbLPstnvQjbA/IJm7Imw1JzfrVLFxkcn1GGloKQwEFK6Fa0O4qNcpne6jAV3LvOgvC6q0QOvFwbwmcEgyzhpkQ5ehS8Op+MFfPfvYKizoRlmMjaHwye+4ZwlYjZ7NRGqzMeHvbVKq+VAKNoWZa1xgA6vGYUV7bwIY5zr5l2yVgOSgo/nVR4Ldm7gKMvPKQ2IwuHKSCDON/XIcyiNkAHDzP5+uAYxmNymF9EcxWjcbb5K2h6KRUsrkFvpc4CyWsBebkqUDNQwDpkWrLV3cSgoG3nRMw6akpb2+FHPL57NDFZ+uKMs/LVm0zx+q7Eb2yD/xbpVTEbT2Fhc3KPKlHgGnoXVRZe3Q73LCIjo5F42dTErPvyMX/hRpUBxaf3HXbui2IZfELZEkWPrmjIe+FwsnruEcWRI1CdSLmOw2A+e7YKFLTvdcHu+rEdl5IqDLHrR4n6F9hzTFkhaEPEcr2HyCQQsFmjhKTAQVz5UIJgnHF/DwTbYfrN8foo+lK6tEsevliqeIfcZlnLKcg68aK+hY2BoxXLFKQJTyJLYxczI9sxwEWHVbNfcSFv7T4PDd+Zu/GRXXUs7Ky1RxUswcg1KtvuhOUuqB90P3X8fJ/RUMHTmg+XXUep7ino1Bf3xFmsPlRi4kiPBZyjdcQpdLdcwo8M073wYQ60IqXa7VNV0sVM5vOIK4nnSISL6egG30WOtVl9R1lUGnsSaDhh6Fxsr48gd7yD1peZWkpxR2hTY4Oty5GdiAB+val4FVVp9dVgR4zSIfvTzBxQ16Qzz+NvnQgAAEi07NxKQb9UvAju1LslwwV4UBGOdPiDynKLgl+iCmy1durX4dNbloHW//ry8ZiLGH7IwbRSD8Y+P/vbhiJV+oO3hqQbV0eEOQLaBIj33NMItaS75npgBauz9HQ5PORQcibK9VnpwpW0jcwmviWj8M77webVZOPjf9KRltKcqC67Wq0z5tpLG8ckdGqXzFzG7Xkfj1cx7vvISk6WuyNLCl6tx7qWc2TxVtkEdzVVo3MmcWvxka+KwuLvA16+JYIitBeRWSytiFAjmbbhXEdjzB67eOpGUmatelK/Pq8gZs1593MTJPPeablrMzIh09dR0Xgs6ODBUPr1/TfUKezwJVW2Jqqsj5/ux6WiBU2jcO61xmsplGWVyAo4a5X7RXjotExERsIrpX3xdwK2NGSJdBTITmwjrWJ0kcJzqy/NBSzEhuIH4JE+dcdHKTtUiSSH+cvZ0fiIHklAtHDmQxmEPH/6zYpJrC7x2MypYWkykvFc9rYG1wecH4ZDBnGBNiwewWKYtGu4xSd6ghxQ9rb8Wz3qiPPZmF9H+nxcqlOT5+eJ6Ebp2gKTggSixYKdaoaOVZCC02dir2hLH6V5J30XmdoVT5w9t7cc22gG4AjthUArcjAaC57007VEFDl7HQcOnWC7Nx/218cx0mH+zG8Ptg+ne5+rc+SqD0cKWoDpYshPEBHzZladxGNtzn/LXO1+0DKH7ZQdw1nRgtdYePE2SV8uV+id9SIbBtekDUcdVEQenXhHTN2wjOkEK9DUgBR266t6NdffgS+nY5nXT+w08trOzD0cuYuc2/axbI34HKn24eM5RwWjaBleaRJBFqz0nWkSU8Jx+xHk4Q1PWxIbvQBNBoBtXD3857XfOTkCeH7OAoVIZJ06UbL7e/qCvX1ILvzjup69yqPV8x4bV3nvjgK+N2jgWPZoBAMcO+hQ+E81JcgFzTxX+hrM/DnwBF/ATiPVpG0aEWAqbPfP9OTrDVRXqC6wOCPbg2a+YhpK5Ke+k4TqytIfXNWnoVni7IXWSp592jYNwUx6u/uj6+IOvUBkuJOpR5LUvh7LQtq8pCcYbhNQZe11Bo61rDNK/Jo0qlh2v+pmqOJscgFuPhlY0Mivz9HoymOnQolgCCXodLhIv80yT4K/u5hrw51neT8QQTVw70650jv0p2VAgqmouZ3PlytwRM8gt0dJUYDqN2gmTzAGbPQTBJkXo6pv7PTLusDULuzOgL6YyJuX+mMFIi+diZ2Uf3EVX5vkIwv/2dj1QEDo4Nc1dkZi5gcM91WAZh9B3AkL6Pb3wBhGp8ZpcQEKaub1R+megC6L8AqeqN4qb/NtCOGgG9UKHXnC4t99B9Nk4ge4TjkzzAHal+uACwxQ7jboIyE2gQGNNtXO/ClucO/ek9vil/p1IGVNk5y3/AdK50I21nSWDgU6vLU7FIXK2/0SHKVx61bTCUzLxA2AIq9qbn9bnLUA/5DiEkf2RDWlB769IKNgjJeFhybKiZjtANjj7GCr2kUfTZaVj0/3QTsoMVqo2QOIizj3tvFwHXsaT9TdmjRiv6KN6P11MdcRHJcG28p5NFZyP69pPu5/LmPzmVvMRG0VbNWDIJyjfu8tt4gNoUWJA7K+cqjQ3VbHWlzQE15VaO2GZ2W7DXAwX3uHHdmZiIBH86w6xsxDt0ZJyfNQ6pyxgfGp8ZqYpHorW596fLXQZzLcoTrBO/t+nWg4QfOidgyjbcJ1wj9Va+q9xaG/kZtonjHrJohkpKWgQ47ugYA1nPvnwU6qZ+2V6bNihvrFDibUvk9yI7eFTHh5v9pzZvBL34oUC5goxyLKd9p+tnSujSEFR9Z3MBHet28+bCp6BGucAMBgY8jhdtVOyQy3E2P84Roosb1z9ATn7A3R2A2KX836jVt7WvGn2RrUjBxzU86aKQgiuLFrJljgfylD9K0KREJrpTAgTvVzjWhEeHM1royHXMb4m29pRWhmoPKKPF2Gcf3E57DcPpSvKvWFmvFzSBGqbXvYpdNGxwtVWOvDrrY0Nag0Qt24B2pxk2duVBQ7g7VF5PUPJdlwqRddgTrL6cLF2B0uAS6wer7NhVddui59q6U+yru0K9cwX3xlTXOKt/ubZJgBNthLSMFUJxZp3R7U10+bNH1IjFc8rPmJK5tEY1NtUsAs4ekqpJ0DKyVrUEMiWSaS5yk0Cboasf0boVSh4lzazMnKfrkGmQeRVlnDYBnjmE5MaMn1xso4zfnHtdznlhDObD8SiByrC+ChTWH8mD+uz5JAINxNr+Gz/iUpT1DF9pfKLAOYOhw3bnQSA712qZNMTzMBWpJbymVQrl+H5DZXD313O+JpROV81pEumFCbpuZe8DC1IyAINZaDBnR4MMqPsBp/dYaAw3Dh9xm3OiQysnD7/+zliUwVJAqVDySn0KCSiqntrn78uO4t6Y/EV/+6X7OfXpBI/uW33Kmn16AQ8sQxTB4e5RxFsvDkydbByZ6jacSVVKs835sAJu8vUHgU9nQwLALItd48+hOUfozeTQ5ek9/dLZaQqQmsaQd0G/lktjhSyZyvw6+2zNXl2EyB9wND1QLfVqKw5+LHXLf3xepX/4yvH/ko/VXw9fzWho0x/4qsCHVlNQ5Cg42L3tIEwicbutSK+foSehhkUiME1jFwdXHuQ47kYTfdLB0iqEuMGdITR8rdblmT1AF78irqu1rimGdeVAGlxA09Mzohkl3Gvd+zLUS4lgIsznuJ9sFwzlvJAVhNMhFMe9piBjDcqdg7r0akOwNiha0CMKsb/j5VcThAGxWkd4DjQbaWSsZCbRgorlmkIFiWs+FeS6nJP4qM6h5Ug3XEUhuUUEQQWyOlfklkKj4gk84R4qC+EquRtU7QhobiXlLROM5Bg7ItFABiD4Fge2LglFWyIKfXjNVWZpBtzRtChaYel8SghTMp7NEXhcl584qs4dd3/HXfZetVBptfVoHlBP5KYSGIYuWuSYtHpx0Eqa/1cQLN/CRjG5NTslyy3b6923F0pmkMl/vWYmz32rYVCRFEwS9yThUcTA2E8X3jHwqwY12MXJ+xRjzty3gGwjCKiFcAepUWFXUxn41DBmSJZtGar+xZrbp1qSlLKPM5NWkmf5ixnrrlPhtHmLquRB651bZsjEan6A+d7Yp/71+ycLZnTWPCSb30EpUYmuVzKHeE2y9L706Y3QuJ+O2zi1CYgQ4n7SLBrjlD4FrEjneIGFfWiSPC4cx91as6ILS6625m0il5quAHd92+S2x11igu6DgbJ8iH28/wbh2Q0cfjtBU/vh/ynLT4HiDLT7PQkj5euarrncg4R8cGOKC9y7csD6Mk+RcYt1Ru+KrN/3yWh18fKFfIx9rx+GhWrpMc04MW9RdzFFJhLAf9BusewdGPocUVbmEq1onPFnbAbMO4XfmjQd0/Pu8FFGLTZ0pYy5SoalcEC8IZ2xmwKDFvYFLPyU2uIKAJm5ZYxa3AkDP52QXgGEpQgN8W7a2LS4NGPSEjtvy6z9GRcgGJlysmL4eePjlyBIGe9ZVBo20vqxUujLTzhOSCToOYR6sKNxNao0AO8Z/WAmWvDxK1wZkN3/MGC4eAUH1L9jU1JqX0DzsA/DqBlif4KzpS5/hUyDQX1IiH09xof0I8OaQqscwvQRGG7/JMmdMia/FnCOIOF71qfKKb6TvxIwqp4eiYOmQ4WVRnXTkJILI5B7x9Dd5/g0Ez8R1Eanc/OgqUom08Fz6hfZGv2TcBRPjpbNMK4cSLbEOwukAVX/ys2FtMTN4nFapwkUXWTRoPfh7lNolKHYiWokUrQEXScVUtBZwjx+L+ibbmwY1eI7zREexVK2aMc9CpikL8djAfKRhhpcUmbtpvDBsfYNs87D9op/0BxnaQy0Sr7AzdQWNZ+Il1pE10kYfIhWuOVVB6ufhbN+Q+/zY5IkQpPbIM2YoeRbVnS/rB+BhfPDtL+LUPYynQuKykkold+9JEa6y7os2NUH7g9JJcmwPuJVK80+nD7IlUoS2aF4fCgp2aQvERrER90K3jmCXL6zbZdzeyxWqJe1WoWQoeuenSdBY6uWG3/akIMG2UQ71UT5h0VKdN5QSI0r5nb61V9ZZ3io6902ALlAbJoKWIr9Ww2fyVKnTg6N5j+jARlGpQJrKZQYSx3LUMiiK24mBcCIuY3NLnSNOvEvkEbRJ3VTx72rGbg+rqrV6kooNp5yUk2/bRUWSBRXOvRt6rI+lOqP/7KOQJyeYpcZfU/iPsp4pfPma938Lu+to3wcTudbMssyQDWQmCXr1wveL/8ey/zQkynk8duN3B55OzwI1xVl1RAH79INvD0krl6nQV+Y6n5pA0Ld6beiGCBrZQGvYAyZRTQXi8+33XcrcNylmrPp8IKk6APXe7USr/G4ZXlxpuQF2rTOCN+Dc9lS082TQ0/KlW7cM1yswCJ8nNRIp3aRkwGwXuMaBXPhO+0hToJLj2shwwhN+HakT8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z2dD7pS103gZfJ6l4USC3jqtWOPR/ue0umjYEY9KlLthURXCUyUuZbmGDPUXB2idlVQc+R1c0j6vNnMaKvr/AvYNndUMnZlHhQlbK8FkNAfeWF5CLIuYNRTKXj0+frBxiLGdphrnK1NzWo3CCaZMhko1ZIH6F32ZZCa4T9IhvK1FzD+JHLMD7uGsalWR5ljjpTxdi+QCRF8iqAhAjqH9CUA7NWCzetsyoLOj+nPfOD/SuLdo3jhV9/j/agWJiO/xkjPnyYfNcJCSHEtINS4mknh53/yEDVHGnXYYRijzvj/gx40AURNVzCxoVICuIP3tA5xX32DA8XDZb92gzBIRkWcDL9+mKHj30KxphREpEI4MYItPrZuq3z3ubrPygIFYYXOHXeDukSD/aU93MCT1erBdpBBtnMMeFWgIzoQNREzqIBEHDBXTol4nEimsJrRJFWnqSCTELbTDVBU47+uqbP4s20iwONnI+s+qUy4IOz0YNFqr9DnEB1U5uj02nw1s3X/s8Dt3HKFlh+Er/AOBdQfVfZG+WB7JuRZrF8AunbQ/mRif0lyV8HsRzUTh9lnTHVCcKrnVUT4t66ag/XxMQdieSpSx5WwpkP2Z3FZmnliBuiG6oFYIfEqRi61y9pmrk+iKzuCcEyA5OjjgCgPqP7kHfEfP5W8uKTmfvYUaQy1IXcg8t4J/XHxjV93ujuWRJtfl3skXE4xk7CwbWCtdv1KGFJoYcS3OYNRd+yR+X6nCAk8WVY7jBzLb98yoG4rhQwYd0Y7EinllqkqW2i5BhTLJCs9ala+TwkVSf98aDkuViW7JFq5g12BkYHICscCP/M76vQAxnE900UthIEE3tsoOb72I6A+Zfo+OaQ6rgDav0pLb57pUQzYF4Ad5lv9zK4ZUq8JA34fPgbbC0B1ZD99BENq7f+O/RM6Uuld0QK7qZh8Y26MUQkAFZWU8e7BQePjdUbo9y6g7P0pGR75Y2l+bUfQXh3ZKqP/DnhOa0LVgkdPJWv9TyhrMxuxNfR+0Rbdjq7jxx8N6ZlPfndqhXY2Lp3UQvXE5vUBUL4lMcJcrZe2zWsGcBFE2oozG43mqgx1iFLl6TgOu6TRef1o3nepv/fwxBHdcvaYFkPcZc65wr2cadUI6Kfamk5Ku25HheGOXa49Jlehzx51zgBUiEtZv17FWd2CP1O8ucOhASJeuQ/X0zj3eY/Yqjvb50rmHtfj8A0ZdO3vmqhnZCyAEomc4m5wt+ukD7N6KPuORG6/7ygYVUU2yzeuMpBs+g3SOzjwAFx4Awmfuc2moLzvT46dcAfQUOcx5GlDkzgAj4sbvSIrejxlf4csod51QbzzATVWavnFLoXwru9MEQN//p7r8W0gmTztwCb24dR0OVQeBLsY+nn1KZXHAQfy+kfQ9VotqQGE2USyR5FEePzF8emHrtex9QOV0NmmQZKYgNjfimS/1UMuLXWkG2UaDv5687IXtT3JJAHZX6g6+ZVOvxvzFUcW/TYpW1Ve0TiMFuQJUwwf0QgVG4CXy3RLZQtRib3VjxcU6NCqImRsZrNCuAwQ/lJzEbsyQn+FTWLxbYEPRLyGPhcDwINAtFvpnhLK3idzmVXQ7TcqyZGtlHALVJGZL90dKVoY2o5meNg51J1ug2x8QHgy5b2zcr03DMMOD+l8NvOw9tZHE4FjrNJS/nxyRHDDRRUQJpUla87YSkMhjjq7xpfer1zxLZGYDidmubq6AYGoGKWcRuHVXCmmxSyI2bwqAEj/Okp1OV/3bdQzt6GFpW7ZseYCbTXOjxf/fFE/U0Rh/9NNA+L2LGlxp3hiCjog6sEyQcxky0AKkfxbzoiuANOFOes0JeIXqxKkqbewQnY4OV8qhAQ1MqorCunlHqMObG6ablQeyTIUBDK0DkO4XzSZVICvlwIg70vKpZPNjD4jFiEO9ZDmVrv6PQZAlPvUflpBtpcin6u53S/ILlejgnfLvAnXX6ZtHTKmCfeDglOJQCw16ujrHlanW8M7rXRTzPqybvAfMtl2SlpEl68rdhh8ZfsfR+//2BoH9yxleja0Jfom20Jf4/mU1XD+72bnC8l8rjXG5WaCxIv1/TYjK/qCN35qQ0alzfF0QW24QMsLYl2IS1SkpHSn39NvFFiH/MS/+ADLtkaX5WHVJV37hk3T36gki/gu65unQtP+0dxoNqTnV4eT1Mr9Q0Ha6AfficL+pteEjw41Zy9zeS/zn7TF+Lb3aNEMzrsG+EcwpwhgygUt+uLy4XNkaIY8PmTRBoYJHUXBgiMNJV5T0P8XDMCXiTHuVLHV2ku396nXY9xufnpdR+GPbLQI/sEqdZXP7L/ddLa0vqFAnJQJS8icPfKTFnXd7Z0Nwwx4MI6txhJSubTJkGYLUp+W/MP0yKz1HV91bGtEfUUzhjFWn9Iy/KZzdrxt049gYM3XGbgMH7Cu5bNN17b1rnvOyQ+kIC0V1PPTzrsdsuwv1dFhva/sjnqf9zunAaVHZvpC9iWmYxKAekQ85Nr6aLX2NEybPr9pZIDLwelKDmqsLbGPayKskzSEIhKqL4rYJJ4y4or8o38heT/ujlSKflBpP4RaDlQpqmX/nNTZ2XenlJJUzey7Ug4M8caIaX1Caoj3PE587PKdAXdx7ONhkZqYr+t8ou7oyj4UHvfO3+qr2F9HslceWUJu9sURudLcKfgYcDQn5WBL+PBwAlfkppQv98C8tWJR93XXRR6Slfqbx+xvGn1v3A3vYO0YxRuC5QcJKkm8UOkO37nRz5g2ztSqcd+OhDj+qB9CH7/B+Kg55ThIbNF0mVvpGV47sKZ6ywh9sENoTKXrxLlsbzRnu+i4GLYzfxVb4LCYEAmJyA6kuJARxlIkLf168NbN9H9fisDvm6nf3tuF2mpo1ZyK7ztc6XQMLm7ExZG7U85IUfRY6/JiK4YzLIMkVXIg2SCjs1YPwVUHAX0P3XATe7iicUbPxdtsM+O/7LMGoU99AlZ+keLH5gYaH3OxEx4Sjj3lSrxy1APW6KilGBD26mwrknExNVRJ6z8CSaDk+QLlfijLuph2AMMs1etGBr3NzS7W8TiMvEdgWgO8lnE6sTVMfSsKLcKu43vhovbO6lBipw7vYU/ugY2s6WgJLrUY34qyvs1bHIKA3OeKIreKolSkcPkg5vDcfQhzbk6vCjazm7FF7a/fsJaRCK6ovma5HMSO7xEEkXOCwCLnTBzr3v3Cp3YpGrqSO9gcBKtDeulsDl2nwKYu5RCoO4tj5XscwQX6vpX7+Md1L69E85b4FViPQ9se39jN263zOz2DqPhsfPfM11HFVVetUzSfXhhSUvm1BuL8ObvGk/33ZQSp9YFAEGcNuUFHa8m4Vwa2tchVxaY4mDcQyYF3ws1506mzzCIXPnFfUJ8GdwwdCjK2HZmoIT+sh4FrLesaepYRPf2axyU076xwP0JzHk3QHT+YqFVHdktKfJYbpxcIVY3IoL6ZJ5N286RXc7h0IQytp30ef2W57BhRI3HHFt1MYpC3L4qysOaaxDhCM0bFQQ93GXMMZjkfRomxhz3GY6AhPuyES5/t1DRFIwny6I1MbYnN//imo3xi6ozqMUuDEc58DPO536uRKnESv6KH2ayPYOZQ1528JJRmKyXcHmldty0fuA0w9snMWUuZfRHowBmUpKhDpeJgpro0BrdalKxX2dD9nVPt/QAW88BtUN2IFENp/3+RUgEWwpANH+IF+A4x69LTdQesal/bSRiFlm7hMc3GHg7hRGDXkY1oMWZfnYgyG/VePfdHKZ/Tq+kJs+KwnDoyQtYx7icowXZD12Laz8H/coIbtbae5tpO+EeA4HedKkHQbY3youKAEnsARlN8U1DXaSMVEX5gTqcHCO5wkPJrCr4A2t13HneKOt4o9AxP0xj9uDFQPpld0HuxIbWE3y5l0j1CKOQMhOOXzebfky8YOshWPtNf6Fx79uFSWKVUPZFkxrq60TU6YTM0ip2imV0DOI5NNo1j4gkgNwzvUSnz36Dfma76eE74yhP6vrpQa05mKYWlaRt2pvtRRiZ3Z8E8qBxkXKJbVkLvRsmxg+fzTzn0KpabqH0c30aDh2LFiO9xP85PFfgX7xX26lSSaN9Ruzqp1JJhm9WlJtTFIAII/I857fH47jPfjHuRqfzFyR2b7eyD7/6oVHQxsdimdLkJGessTX4DYCrBkFeC0PsgAUaMA+cSJfqbpck3otG1m5znBfEelRBa+dEQD14DGOK+7aFE4q6qXWVC8N5YAkLiMgl6LnM8SKWvOJAyWh0v/CcgoVK2dCO+FucrzkWeUH9BUG5oYBOqQ2Ytj3NamqrlNILQ/i4qzFBzC+gXbT9iMetCy5sICbGS6EQ7V3MaQr1BUcGBtRAHpXh+v3X/Oop8P6vkMbsr/EH1wDGj8DWcIS6c2wM9l8a5P9YZj0qKqdJUz00KTNdAbxgMipBfluy9ZjAujvtKaE31TvueGIzP6H9hf8pEeksiwCRZPrVmtiFDp/rME7f/WOWEypcVDmrbxycgcYGjQ+Hn9TWqjlwPmKiYJMwA8Cj6rVKbj01sLM/NM48xEPx4VTo3uJax25zieEvmOHOWg190B6NhwlblHsNUiXKYKQxiubDgyRCJPHQ9zOc877S+uu7aahDietXmVfQ3XTNmVcEq+y+DAzmJdIrV9xPSCLfO824/KIHTVICvVnKFJyh1Yh6IWS38KtWmamaNZxSOT5VMBtYuO0Ma9Ll04i4UGuIqlcplAX2+YNI2aNKIRBcNpM2V+NNShY8tqeiNd3Okk2SQfWVDk7X4GczEAaHI8u/5c4XtASdSTX7aJl77L+rrkJY0xoh/6bIJ/YGrwQKNJjEvlBG2EaSzJ7bjlAkSdGpopItTtFtK/TfahP/i55J0yjboIRC/kuA5Biy+IsHNZPvFUYjyXA9mVXFP2C5PSwUb6RITTgWpNQKABY1QmkzmURhI0eQiTVPcxa3l8JzHJB8kcoLxEBhaSstko23uvYRq7qsVkpYx57oCA2GHIeOHV16sJkZtItV/sqz+Pe44CHrEz/8Pfnlb+dbdQYH3neEnAD2OjkCGKSzqOh0sMrrwrclltbByQGAv+9WmeZ0m3oMNf4iW5IPTLvmAURRTkKlDBqOHQ8Y0FdZ6O7KiTnrLCZfh50GSLLs42rI2af6nTS3wNkxqMdXi6cFYjMaaYqAzHPgi7zG1+JyHvPqe/4AV1kzTtxtZ8N/fV560AWg1chPxizyKeUWHbtRD+as1MtACPi/tOnHDoKdChz5QXHMUPDolEIvB5Gy6GmG/qdRpEwAFFtcnP0YiGigL6xuwr5MF4dS9VWdTudyvyTgUcTOQqXdq92Emr2uuo1o0mV7D+4+Fa0b8XlSObqyDDumsKGybnoQCyC/k7cLXU9aUdLiYKYsc0xk2Klrod2y/6wP2CtLMcnWgO9blpCp4Jt2rZWWT1eo0crHhwGEZLpTKreudDzGISu5CcXxL985JCM+Yb7LHOLqAWHcRvZw1Qh+xtGU563J5JyE+sqV8FFwxG7umTaJv0KSTdh5cOPo/bYkDRWE/CZVKWtLZHBxu8wRdirmiEI2lOlHoMX0WSAYyCMPvkN9RfPAZxlz8YummlfeAgafnIuo/+6kqYAlVSfVlu48DhOcPSbo4zKtBm8jzJn+IZ1CW94bURHb9rREfWN9NyCSpj3ZvSEI9hB+D/HDXIQNuM4ETeeghMjs/M0+ycYLEGE/oNKynYCRUf1Y9oNSXfokZk1qEh7p2w4oMvQDnaurqXaeCgSmQJhvIWO906sSWJrLNd9gU7TH23MNKIdwoozlKIWBw7MO/r85yxHoDm7JltSnX1lWOdCEyEF7YAZmpaq9nmkjNaz77r+0qAR5FlAlTVhAId6Qrkn4WZb8HIBJBg84ePtkhQ2958EknfpkmTp2CF/Kjglao1wkcOAqosZ04T1jIScFNtOyBhJp8/x/oGWeQe3qv32H4NylNeSkpfC27/EKOHy7tmDcP3HeO26YgpaZR4I5LhfDGQgHJJmX/JfIULgvDAz8muPQlZj0v4NdtS+LvFy4IfVufl+wZJ2yO8c2zdVHFEcyPWhwZGcohlLM/ei4Z97XPi89rsF3wd3LHvPSQ3eII4XhJ9Uk/dVebO4wGvZh53iQl0MpVxsCEbQtjXSN82dVgr0q9CqnLesPOYoNHK+K+2V6fdLslkc/tC5n94Dr9V2cbtKQMwCvzMIAd3sgHYTpXbzPIUlerWcE4ul2q1/F7UWSVDbWyoPK6D4kFq5hoV0n/fE8mKjNxFIZ5zZ5mwcOvGN6eJnKoYTWPcaCzkU/kV+sXDjRgiqjZ3x/6Kal1OHv1D3Q5x0yVz8Dy/HGmJQgim0SmZTDTlDkdMv4a4kTcPwPKwyf19qcHn8+gsBWK/of+i7p1iBws4bChGSNQyJBdYyPvYHKc4npR71cb/Zqig51rwJ3CaENBMQxihSiIVA6FmKdl5Esbj+jqMST+dxWGav2KcSXDi1DVVsAmT62txpV/eiiRqH3W4d3ItztZGf6r+3MrFWznYEB7LauQY6D+1j46RtRsErqyY7VXxHwefca/m200UXI3AMZiLevzOsSoQ/ak7pPcgM7pK9ikOso3QDAyMXrFO9K7XtOP6vYWSoUZIjAGHhgnNnvMHMLvLFJciR28QJ2jda7gzShimtKIoS2MYiFFsZ5OtayYPVUAdzdZSBh6yFTV886DZRFjj09+F2ZTUHRgca0M6OPEVNsA/GZMnnnp9svNEChy622FjpbLhDFQ6cXDQ8D7xL+pw62gi5bcKlH8FI69gt0ibTxHJNNM5pKissf7NEKtNRcD1ToHMN+7p+fFR+yV/JYPkjoHaCSo+VMsqbXa9T6P+H7VQaV+hwVftInorjy3MlKXe0b1EMvWirLAipKdrWKTt6CAVxOM0TjhDrqmQ2oAQKk0d/Ngcxt5QS2eRDpSg7Wq0OWjSEQsi9GPuhSmxccwmVEfjEw7aeKiBczTE7QUDWenh8AxSLuJTD8Tif8mtKNNRSxPXdu7S+eCLNpTR+X8LKjor5MaGa0dkyoYe0/NRRLGSp5tG6vVkzO4Nq/7zVFxO6rQ4qkbaf5F4iqRwdFwEtjqQcQlYjzXYayk2pJIzb8Afu3roUUL83sEIaUtxQ4cHnLMvXFuviLEcbC3aYvfyMasHc+g4I35X99eyUOz5JtTz9YiXou0Yf2XyXcB+SQfb/l1xi0hB/pt8k4pyUelNwWM6FOe755MH/QsbN2xHRiljmvONZQPivZTTx+yfmG4e5GEAC1Wrt1p/ypS7bzgc/r3DRzHLnp5cD3za+8WDar24JjAP8Z2K+g8pfxHw48DuuWrO0ejS/9bo+emAzj9FmRsacqAo6B3zgSZxeX6B0lQ1fD5FyxH92SGJK9IhrUumKc0zOmz7mlZwxGT2T6ra0mUaS3C6nV2IaA6EMw3tsbM+V95MZ++aRSMDUOmYPjVyU8f8f8fb78tqKo4MukTkfL5XKAelotMV98qNsC9jMw5AY5eJSBDQfgvcBGydPczdrCXG7YUSYcGVNJD+fL4lLqOLGykHFQ7v++0MBLHsyDSLxk60Bz0ngXNGA4d+RGtis1NPuOf0H10C715nzzAhB0+keYxRyH89efm1vh31yW4iuNv9lhm3d6WriOQiTBU/bd58zZ5c6h8zzxx2ntLVyLW54S7DbzWWvhnOB1aubTHrNXNmPll4xKVwR8KQvb02DI4+XYiRGkzs21G/TeyP4ypUZk2OB0Xj8TK6HTASTc9XnkXytT3KIZ4iXRLL56lwTIKwAfEIhP1wqFzItMNE4aI1m/5rq6Bt0I0bBqhOHjzLkhn1i5itYDm0vRAYP7KaFwY+RUbW/ujejZWn6+1WEgd1GVt6l3q97IgPKNjqD4SpA3vHHN57htmQa1CcuWJMbInBkKtO1YZX8D7ZDBX5Av7iOvQ0sraAkx7OhuetDj/4WjiWnExihjXAb7duMYtlF9/sV1vHmh90Uq6rGSb4NUO6w3VCA4Fl7HA3MZFIfM05t6YmATZNaAMs+UTgs6QCDKacSm0eLFpo2gr4jBW6G900pIctNP3a/Noti8XysRaSHe9NrLSUTfJufdMFBL2N60XQRuEANU5iXuDQ9Pyjyphqf13s13B7Fq/hkaXbOw65ONzlUf9YFRXKXE5IZxMbRqJW2fRcrkCaWISoZALFFXZgTA27RUbK2RlHSpDPnALZWw2lB0WUrCKVXs8758zAokruUX+G+B9OkxpDGbUw7Q2FrhcUP0OfDFrKFkZjILpktVFAv+Vqmu1yqiGultPz0/JSzeKlRxVbpckGiX/NC1Uu8e7XgQ4uN1quvAPPJwxzvB5YGhDVK5JTOU/PrpnTT/4uUZ3o3PyC80BGU2OHawrNGLjSQd2GUhqSAOm6hZs2MDOir3ycb7kcl0ZbV1g+K0U15L/6FRJcWw3uLAWS8BMEUJ+LJC6fEEYGVYTZM5lSIFuAea93c99mL3RX0N1L73BBRZNhW5MtKScC8grA5mxMNkVuCfg8ZZUjhF0XjG61muOtPlMw/YbQCyThtbJXY38DLRhYnYUeZBvainSDJ87hNDxZxnlW3s2UWqqdziIlAmJacmivCHS1NjrN30qMACTYfqWMLsn1qlL1c/AgPrbElxNZuzMAALq9chCPgTM9gZG/a8q/Lh7TYBbEHfusFscHDxrqaKpNCV5z5eNPKMdthrERf3EoaEPRjvXCDXQMo5Qo2YxkeGgt5Lx+zLprM6SD/EiWY+QsU7/tG/5ADjs3ABJJbz9NZTFdswwJ1UItqEeMfHdMUUmgDB6bGPcGoJE8nfCyCOJLZ5wGeyJQQqFlCok6Oxh7hgGxcwWOAOhKSHZw9yAsBDWPfSkdpLnquqNtCnkxKkp9GcH4I5bSRyUFZI2xBU7Xfij11Zn/xGnD19SJlYlpbLDf1GEAzfS4tVs1UiW7N5Ip30jYDNGQuubkIAuBXTDVye0iy22/WdECrNHa/vnMLDo3bKqd4x+yps8k3+uKTznuoaMrKP2pOteZcvPZW4HoEm7E4Z8rj2X1XAhHgI0OJUg0wLNtSYyo7Zr3nCwDYSLuTF5LMX/67dpGAGH2qkmsjhHwJvv5Z7RWkIniYhnqhmlRrkH3ZBVvCZbO1zM07dPuefAO99I8wg5cUs6MYf6kSJgxTSFgqL4MrUB5Qjq8XCNkENiGsdlZvpuw3/JzGWWfRM4qGQIKmWx2POc2Mk5R0DDwj9PiCyzYtdGNeB4F6iN1FDrvbgDx9boMacDSICx8fv9TWuSTZyXDeuWT/IzdY2d1fEwTOlxqWyYOP+n36CGWyyiZBHQ6XzJb5sNv/7KF/v35YBphx8pDqt/5hkr8Mz1zEaNmfYU10sTOoXxJdV+54O1t8u/2cmreop44hUT3EZEWArtFUCsHyA/LAHEay20alqRu8u9g/zDwsiVARWjOAZ/Foa3mRpW4K/WIyD/i1PYtW6RKXmNaZC6EmlXJrqM/pJgm1Dbqu3G8Y2WVDHa2kdHFvjjrKBBxBlDtWQklPl/3zsw9yUUDRyGh0JgZ1vKmXjq4qC+54vksJ/Qgg4AJ7+81M00T+S1ixmQBfMVdAcl7pGFOjZIl0YRF0Rua2ecHvYc0AzzttdUqcejMHPkDGlQr8knNMcx4bG4fKdwG7PR4SXXJDqn4b4jAVWO2ih0E8obXiOhZuFfquxC3ALgz5M39qXFmudv6KpPF7kWGsHLN5FXxC66lGl+y4soUOsmEqj5vsfFDQ9bO49tip+N9jWWBtufW6jIsRPqtbuYj27IEKmiT9uAMh3p990Pv6fY/AFfA64U61PWdIF7IK2qLtfbjWVO8rwdF8LQCGuo7WHEBnOUiX0EnspjWDw6w2woPMAZBIbaMaUViwrt7vdaWMeTxhtpOzsr9AZftEoTHYHr0y0rGy4B3nyZg2nF7j7gQQpewYDGOLcIC9oUhk7IRsPBLhg7em1tRkFvQfzJlmrjqbkSr0vbgjxxqnNWlWMih9qaktNQPWy8J3LD4tX5Gn/X01g/1JCk4DGdzoWUfoAUl0VfQM/B8R1bce6iLQgJdZi0UWingGxxTewKhvZyVBVFmtQsyeqU24VqLXFbP3u8TDHRfRHhiI1Y6eunWrqM1q/uGLAoyJ2SW/s5ZMPq9gxq/ze/fp2o+oXaeQnIaAWokgUNJIJIDQchkQ7mrw+agvT8yXn6dvITTk/fjoZvTq0CVtpI4biJHsr61Jf9FYQZFPZcnLA+59wWv2fLjrzMJciA2si7xL/gEm7321ati8DQxj/BiPU26GL+JR5vnW4bgILvMlWg9VHi3i9bot1hNCmTAP+ejCCcVSi3BIHBPSUD4XZ0fOpIR2PxNwEriUBgzgNMQkxBvw2kzUewT41kKG7y0QF7rnjM3gbILpGkWKMbI00FalsHq5zFUHwXqm4Fp0DNSTkP6Y5NKlgpMy8BjAQpW/yhHo0gCDKQuTyUEPBXE54jQDMWcOk9TimTDL4uq8UW+ChegtZr06eHIWpfI/j8DKVKqFClZgXZy71I0tsM5vDPy6fuc/wFxjjW3e8q082MOtfZt/8QUfsx7kyjCuNVEe0sAUg1Lc83w00pAvKsjofy6hP4DVCl63oYNFN5YxCu0MleHZG4EDszaL4EeWcm1VHqaWlZAMacVVNbbYbs2HN0XHk2snuEL3clr6Oy6hmLePDictP1bYf32x+TPEtHfaS5a3+OjaiM3XI7uC0gKyqjN1tH0A6EAYSzXCCqMIET63c71+PivANlFu0dzD0m9GOSU4Z05Cs2OlRsrN124MMOeUsS6rHfVeNInLG55TdHJ4blX1iUoIMCdBQsn/zIH9EJBw10evMOTLE9/zJOvXe3vT56821jSZ8WrwW3d6imrT/CRT+HffG+MHKCgwqSpyWnUJZ00+2MH36qKQouibyjVPzZNTB4hrxBhS1MIBhM1ULIHZSoO1YW7JtJ6HvbAioO9zmEhfgf0x0SJ1n2zQDPCPKV4wzhekIY0So5eavYXqdTf0uMNh7vM5myNFOxcV1ogQt2p4RlpGDuiNlQbVppsX4pe1SDdmA84TCN7FgZ8oAcSkE8P5Qrt1BBEl+QDi7Ailz3C2m0NIRfq55Vx5Wyv7BLHUXW9xI84IIKIHzjSa2E7P7UotMfju+BjFUPQsmbssl1pT1gsLZ8/Y9JodWUmJioBg0gp2fXCy3ovigxslTHrWct3Bj2cYIPiG8lenj2T3Z33ZzxchAUcmBT/8EoL6HzoNDZ4Sg9XRb7FJBjnIb4ur7eoLv+iDTZfFRvHYkFo57UzysYVez6jQ+dQZQxP5xFZfwv8jDvYaz/gDTQqhCHzy9OFeKs80/pWJbtNtxP5W3rouk08xlTT7FuXK8D3V0W8OwTV/sbJV1vR66Wj1RlVl4nLFWq9udgOc0GxPSsx86X8oM/OiBjyt1lOMbHkGnaxj4+NTaKE1poxsr5zyLFjCPnTt+hd/EOXRYhB8lQUvrFairV8g/31UkmZHya3JflkVDSpUPOGdfPoUATxM5JTGU1A29rly3k8OVa4z9ju9OqL1iXxdcfF3thlodG4/D3Ex4P1FGJWTURyv74FSITkoy7ZhJFLpWS/m/y/7N26OOtEmTk6qyutMe4drIoS/fyqvl8HusegSCVm5abxMdkMkETy2h3fjsLrZQV9L45ynefHkkYbUqShaydVIXOTgcdv8BO6qqwenTnT9m0ECxYznYhEWCDYMTtPbTRFh+nD8aqh6jrTmVsZoOf9gckTyPtFs/quyrOx28ZN2v6tyBsybU2HaaPHbXa7K/NOke9e6HRmsrIIel3wLLshmRWZYfxeCf8w2kmnPIgp6PYMxx2cMsA7ro2LtAG536mP9plEJP9bjmoQpfu8O1Yl26G2eWx5BOa92FLWFitXTZkULcZvUC9qjC4o4eLLP7gVVKeG+z2NIrVddSMrv78HOoYUccHPl492wBF5vnPuZr/kh0QFdIurL2nkMuaIDbYVCOuP/dogT1bN2Y3LZciKjzpSLcK/wpzAHMkvSuIo40ndbM0vbp/v8QJ6vVgViff2uJkFFxO2kKYA2Bcsgd01vQvtw7aSE7HLNC3d4cL5YSbt+sxIx8LsE8T6bk1IOOFbH7Lv76qJzHVXWyd86ncmkIRfczyynLvTYIkCjnn4CPcnefpZcs57BH9St/bKpkOAnh224XLUIijl13wnv4EBw0kfY+wJfUZxVDQnt91rShkYP5BkWLcmm7TaldZDZocxPUN09r+yxJGk49gnvdSEbVd+rJCDREFHp1UND8Ta2+6FrRpdAghEEz21bwiG+bWi9SrJSwvozDU82hyqHCH/+RhlrkF3fzzz0epDQesecT/gHCXXC4OW6QyHfFf/m7sL92Gnt6c+e3pFmNbDYJ+9iGMfUMN3YkJFuHh5Zu0qVK0HWIG8/afwwhCbGeq35yj5SrdGrNuBBllfTL+hIgqzf7BddfQsYFZgI2zRWQ445Xy57SVnGSbu19Tc1ZuLs8+eLTLrofE3OKc66CHvm86R8aA1UrjeSKTPOjmnPElj/kz4mFQSMxs6RWVd8RX9TtIncmewtbxiOo9e99tj66vEN7AVQpy7+OXKU7rhkdoxzHwFSWH0RbGRsiYGwnMnmIm3zCH2PJoHpNskSj+1bfWl7LESUEKEqg659pZ8rwfC5CpXCXi/IfghoPtF/INsXDRlhiYgzJTRkojM6Ik4p7ZXdSSXHsiY3a/3h43UV8M8A5aiqZVtsVd6ddXjCxC+pYAA2CrD9aMsgmy0OO2em5tqxjeHtw9E8J4LvD6XteFwFve+ZPOuM3Bcaq96rPUkOjKjP8xrlf7VqNdyQ1sBpjHXxpHY9uIxsuHxgTgPsKaNoLYynnQFBuwXCkJdKMFvs48am8PTF6673/tWVar1YgFUE8NuhCu9qIFXbf6nB+y2uti93O+YNs/15PL/uzIkcGhNZYKsJLo1CD0iYl3iz6YfagqSAfM6W/297gcGLAsRt0GWkDrd49ypL3E5kokE+tbSwbSraJ3Qijb3KsuFnUxxIzRyKpmZCFJgmPB1apwe3fwC2tEeLUxDMO96jskc9cHIEkw7oE41E94jVRlAFJaZkOff9itaxgWuEcbVi0BkiEyytbwwo+WCr07NB3Vz+DJ/xMPtnjijfLwneXtfdf/KA8a7Th09PPpvo5QpaBe2GASXDix+D56neH/qIzIh/Q3zOpSdbF1N/Oo1gZ9X3ntmi1fkz6fAcQQ+Mox29BO4YCrhegw3QaCBy88eIS1aC2JZQ8oZ8z39jIEjkho/10C6Rp75dfp+H/NtcohYAfKCquwhsmAJL+SF74JEM45wFyaNA4WMVthgTswVjBdEjnYeKzgG7Ebcq7q1oOsbUcX16sQYMFmuiWFK0dP56/ruPoxdAR4n5o3mt+qJyjpEJxbIaMcpyfOuuiQXl8ICU9luv3zf7W3k8IybBuSKqxsgPQ09AX6IHrdJkmcZ1K/1Dbpf1lz4XSDwY1hloC+obah6TRo6C30Ka+DWWeal5c/44MJdFacliL+gWR1a8Bx4pXXnUPvKPGk5QPtCM51/4dHuNZr9LTc7vXgXbzljCUtyxEInBeOVfCei6tzhcGhJuYLSUFmD9Vj3Ah45IUekq/C+Ny6FY0I3RsLxPYMIHOjnb1kC8Q780F+5X89RMBdzknLVAmsTLYEn43TfX4ldRcsUM7CfZpZfJ8nIbx8QXhGXZg4EGyNsI5W0p1Luypg2T+AZzQylECbgUo+x2ASeVaiGPYsKBZAfU3gLa1k12nkvgC3MLeLtdww/w7B2YozYO9bl6Ll3sS63OQJP+kvVqlqcZbgaUA+wf+R5kBCvL3+4to4tHwETCUMkytcY5BIA7tDJ6aLGpJgiHzXagiUW0oj9HAs1BM/NxFpHmWMRQq4F7F7I8KJTB3sHZ1jYS618DhWXN+5uBDvTYNI9bsNaWUnR0BUC3Ewbh1DnT6Sjovoj3xqEkYyXx4fEpndblq074RoY3NW+elmSr8qdo2wq7sfb731lXFs4aeI7Xy3j7IkzB9TiAKBL9UgkbOCC1I8wCgkHB1FblwuLBgw7NjYtt/63s4T70hwbRByD68tETGjD9kjSlKoQcNC++AHAz2sp8Q8I5gKrfF8J1LSJUgL2wXnUp0Ynw14vnC+R0zgGPvC/P/+p4Jnp+OA8UgcvfjRS6TMb9te08WX2VHUkUgr2/p6LMB0wXBHkjS+UFeXh03RLvvoLXfEk6mLelehUzEcN7ijmgsIzWedNi+PoUgKQeF5qLe6Cfg4B0en2FhfpHGVwCNPgovKYG/dGMTm6GMhcjxxahZ5BhXnC9/QVAiOvKujExM6Av694RPXTASlhqgCNNRYEmM9UzV3b2nEHu1+JQTRGkiDE6l3nckptZHDoiDojWqFY5olTd77OdWE6HQARk4dL70fEcom54OJXedy5yUs8pycAAhS3UiKnLkmdVV6WOEunaXFc5TPZTA2YFs3keNEb6ZDRR6Rcv8SqedMcsEyipXp5VKm099PFSiBzvYjogshCsZEe69rziPh9/8xsw1eRC3P3G3mTLPLBFsLomflVkdNTG8V/omlGy38w7w/UDqjcx7O/hUgZz2VSotgR/qFzkRCBrJoSisHWXkpqxfPWdnNVQLbriqrO5eDB9DL7XVNHL+yAeoubVSFOlxJeCxX3fxU0hgeDnpUvcfP+29ZLEDqP4KM6DhD/rf/kbDrEskFhfbx0QpBYFaRHli81bwohvxCkmQkwjWtzPHMx+pcLX3Ca2Zfn5aduPF15ThR8yrbUkgplyUtPFGChcCUYUXTaPoM0yLb6MwetMyJisYIf/y5UwbbjhQ+WKgy5pvHermadjVgBFC5PoPTvi/rdaBBvbjA4CiuwEImsW/tIj1jp5htoZTefkmy1eL7LDGIEje4iAmzJkTQ1upghSIq7w0yOU4EQ7gRc6o7XRpkKU9FilImkGGWPsCzAs3Njt/UTRUH47TuymNTtDlexkqw0IPe6Yi0/d7q7CPK/rM20egSCdOoAD5tKNJuBcFSB8vp8VbAs2gfGiff6pce0imttfDTUi2vae2M8QbfCFBZ97vufhYaN3aPM7sF70SHnKsb/9HCHXfO7eM70WxCPXjf0p2rdCV6PZb+QV5KZT+9wiNOy9CJmcxYxGegyDpgmxcVZLjjfT536vlig8D1GmWNwmbFz3bWNoiB9H+//8eOmwZlywchMDY8IbZgY2Gf4c4BZX5jJNKB9wcJg/O7/+Skt9CL5u9ZahCI1x1XcH7F2UhZezCF7fChf0BYtQ1CKttargbr2mkAHpww4icNAcDu0K/ChIU3CA4KdOvTksc/xB6MkHNJr8zviA7YjJSbT7xiyz7/ONr8NASlP9hn3NxMJ3g/p4oI+kbYKpL4Ucdbu8dsTNmsy3loJGkR7pZITituS6yHqit7JIKGeXJ7rcNvyYDoRoNGBQyisi1zu54Zkq2qf7ETtO3S2MQeSYuZoM3OIcUl/lnqw/CmKTcBLX5AQhOE9xYNLUZ2HiGY4Jd6n1KH1xhtwWozxTe9hbcM9WHrxXEVf9SXLkT7hQmaFskgPIlHagUWYjQ17Bl8JO76bLjbrwXZ+GqgOzWlkAS8meoBmp8/f59EoNLVLDOnD5ZirQ328AGXY0EdOiZxJlbPsfXd890lN9gPsqpYoRy3Bytuesjw8uaisqWQ+qbAANXhma8+TT63tvy2OY4GFPGgX5J6bxg5fgAO6qeYvJxicy4jAw0QWvjMoXwhXwcUezyAqOrf02taGYQlDBzD0BRbdLvjc3OGsJdltkTqxDmtChn0g+f6o7vKT/TRWhhLZPU2bPkS1RX+gguwkf+oN+8fk+J+9txiym6LvoJf2tNB5pp8JKic6AYHgWYtWcYIQzN8+d7gAO9Tg9mIOnupu1EdxlT7JgZXpcz5LEhGd4bd546klk7oSdydotpj5thcpRNZ0/VGFBRIWmBaVm3pAWTlxiO8osEtAcMzHTei7XU2Fa5NpkCWv/tCKTECIPPIqxtReLogMyhb3gm6OSU3rZARnN1NNE4wmWO2A87sFpgX06cD95mLAP1FKvhFrmk6OaaCbOtQlPeKY7ozCBRIvRXmK4tktrnwH2QVZGakmBacV+WKAeyZJzgLDzmIAZegziXItOMuGSchkXnr59fC5RUl1EIdrbh8X4jV6m5/Q6wIweM2RrnRuhgksF0guEpoBjbli+crB9nOib900ml7ote+e8kJ2ngakmqb3cypGJU/YUIQglD3OsRl2XptoSq0av2u6rROF4CW2hrsEKzJ5kXhj3bRDPnI5hDGlaCZEflHq0FkOwwJzGdph5A1dYrPMyjgMcCmtcPyTv7pgJDLigYHWluoifsSdXdxJmY/8Ylrfj9V47469Uew3S/NXiKy58iFo/2QOQrKN2PbEib/9NwJC8gFImh9I60j2QHTO2xfFFI9mis9CMwQbOuxw2r+7KETlVlYszTp7ZnHxKhnZHLXbWHcKnOoc37vwY3GNY0+KUBBxgdydTbMp80NP4dfHiqOufJ0gPJsHdfGDy9CzjzxJmPlbOJVA39Ifj4eM55Uy9mkCvC8iZu+GzWOxiKA1OwU5dMDtUPgQ7/zCkpo8xqhBlzKHo+eqdbyYtSpbJiRJJ+l2EjoYUzBfbV8QWdzVawzrpVdprxC/XZRzNKiKLwNZjs1j8idY5Ial3z5LpW/T0Htgh0SQIfknsLJWsURSyiXRo16J3y70ONO/vr0jm75zhohHeDGPA4lRYsOUb2xdkTXKfx2ak3/p7cE/1pRgElWVHyOFd5LJZxIXGEYWkp/VPIZ5Bh++tSEQXfsndpNqN5tZHn9d/agHc8aI+scG9umy2xHEhP9RyjXeT42XDqVYmcO4c3ztopItOvxL5LcQG8Y985pkBzFgg6t+Zpv/RYzzUoaGLTZUutZ7KyX3q/5UvByuG/v8yL1MXl1HJEBCRmhp4vyTdjSdyJvRb/Zr454tlLIVavrDWdk5uesIwehk+Ts4CFsC4bjVj1tz1QUy+8exwu7YM5+rAurtOD7XyDok1+LPpjZH85E4zDNNrmDOrLFiyhGbrHf5fe8aASijIIcRWOoP03+DRoBxxWnu04zYOorhcL+baTo1zmv7PMMqYpVRIuRokKOVVSlcuDH84Ye1RNNtPB522Y0o+m00RBU354f4t2UN8sarXC1+0n/xMvSAzzBRJI7LBAvbXF1Fqii7QNvcPn6ghLVLqz6/p6oV8JidwOs5x8yu6IwJVc+NV/rer0xG58iloqacDxU+K3eD6MNrMQDY/2nY/xJmKDhXWrwiZOeckD9h5/BAlt45/PH2Aq1P1TxugZq06kHJKjB3lfqJ7chn4ZTm47F5JYbGYwdJw8YzC/URgvPHOJmhc17lP43GLQVXozbvpzAOdcqENuOfNFHLVBGbuwWK7eIVgrJyIRKAcpg5c2GtrkhV55iuMlRfAE7V4cJaWDEL7CGccsznF/gx8c+OKVB8sGCHLNJWHaL4y/K8Y9dmGY0fx+q3j8HtgrFsw6SVstlZyFu8/6JBV1LBfEjTMtYNoQawkLCHtX5MCFGunKx0I8H2QBaKIeR3ZO2vrIl1cicgTe9YknKbtvaoFRjHUu5cfaa0J76VCqJ6vzDy64eg33TLAIdFEdseHPsvAduh5g6Dk3sMatQWbd+HrgXz1nN6BlemIxhgmizJ6JglR+2e5ia6Vqvvl8jTl2YqUcUl/MEzqOh3PBk2JB2sK7SY83qL0rWiFtDv2iChEptJBKtyghAh9FfTARzGcCyOsq3EWRbled7ahTNWd/KjgNqSD8lIQal+FsDxgopUD9QSbFqzmUTA4AQubJ+xT0+X73tHUEKtOnyQfvGq3AC+gQybUImS52FGSmBXLQg34aqwB7HI1M203wFYOeXEFFf3H1LbXUZZ5oUl9PdnqX7y5WwDGBjLflrF+7FrDtYDUFKzyc29Dk4BcDk5lIioW7AWMvqrfFU81YwWXAj/07jg1vEGaCQiwiFtwsNSqzZDI4IDGibHCMHhlfM5pLbPQxSJP810fJaiItBs4EcyvFS6athXLXB6hazDsTIn2qhfOxlEe0CbKTztirNXqlpeT/qO1QqKNPNbnBZ9Dms3cKJalcwIb1/xaBEl7iEECEL1yrl+sJGCdW/64rueQa+KSH9rF1DkEwcDZVu6mUZR7V6DJtF/8vpUJ22QdhtW5M4lxKmb99llI5f6o3T0JqWVb4w4oB5vMYEn7gsI8WJWCcKiapN+NRkpcv1VUW2mtXhIrKKnXpKs+iuY4wThPwS5tG3ocMwL/fIWOxLPlx8jXnfDQ9vbNWdgw5zT1wdqxUUGsinTmRfOWLmOShvGaZBYf001AAu6bNyyaGzPC2e4qC8dJ7I5En++fDkWfwZvZ5YbPTVyg/LqbkD2UKifRGQDqpIgZ4Yyk5F7Xqlx0E03iF8LRxmOlHq59p9g5T28sC4MS9p5v7kuXlxaSeoNtrU1hMzWtNYIesr9elZuro52wGHmmpHrj2/hDhpg9v9ULrMXOD3oNK2/MdUOGZuFz9dPvEVXhVRZMiGXyFhtzKitEOFnjbLS6YldfoHPUoKXuMcn7eontkBfz9BbsTe0Tqfx9qp21P212oDwpr/yn2lLe5oITty6XHHu0ygaRxI3db0A+cgBzCeZg4PdrI0woJQ1+PK5RM/EC/6raukR3JxZGHMKPvGMjKe6UKlFmw7lsbDF01KKXL0udVdnrENq5eAyPLb1GInbNybhJ7jWRKy3elB4+ZFIhaQaNUR5mk0MhJXOsqTp5CYl+wZgPLEU1zK0M0vNo2xtBFh5ZNmSJOi+kJKVcHdsaAnBpMYYGSPF1WYj/jrtc83QvZ6RLq/qjzTBv1c8jLV48YaZC38L0uGeFgvna5I2sgQuyTlSDXwnWVOCc0zOwnomTxV1mmGwKTzAB1WBUTzYHGorbNzssjWRZ+eg8CmYGooWJlBWkzsLuJFhA6OnLt+AZO86QSvuesx8m0fGryFZn5vOcSreGURXyzGN3zbY7dGTjjmNO6ZXdRvwaDoJWXlwWpdwBQKppXqqcLIcriX9TCwH6Y44vE3JA7/+GShEVaZDk2K6rQ2SHvT1uUO8bwje0xJnwj0OfvZ4EzYtN9y6BuTmdi7QvfCpxkl6SHz3d4rakjn4njLOkuwNwSN2xdnkGBiqvEpZ2wJTRSxzhbd8EX67TQJPJbQAY5H6j8cOjSim8h+pKNEO6NMULXP0cNhLDCTTEWCYji0+K8MqaRur9ceCYbuWYw6fgxnh3TP1aSOSoIqUEGxWSwOwEdx/vR/OvdcuNF3RkpsA/upb30cJXT306QaFK4yCQwQW7Km1cst5ipJ2nhQwfmMHW3xAIXkRvBuFIRkqaHLh5srVNDAgS9EXVfrR3twiLag41bHde/x7UBuw1wfbFfV+gi6//43mG7/5JzvvKH5B1xuovSgZbFTte4fbIlJFT7L64zCwVDvZx2ThCxB19eb34n8jVIyq1Jp9lCxjDqFx5d2guRocwhHAJP3IMTCpPbi+UYtBYTqRnqu+0Amcy54jQYJJGdsGFnWtoQkBWIVzTcZR6mKCFo0sg9GLj3qKlWWl4NuVgFMDuSjOih84y0rDFSDwffTRnhnH7mvrCYHZuiJoKgQy/Gk/BJFBgCdcMLQDGqiNnLZBI88jswmtbre8SwkB2ZHMjmhGjVXaU7mD9uBGoX1FlksVvi9wlVgmuepf+17LU6Kp59D0vj5JdZSOrS0ieTktz6UTqflt5PJoVORRzpVpsJ7tI1mgWBcXNRf+ZoDOXcCGJMX7iiueCyOhprorJ4XGcma5CVRXCTtQlS/qN7u647izGtR5fWvcYWiNeyVRA5CqMm8D43NJaKz7QNZ61pBvQ/l30vpkxRMIKS8TUWqQg++Ih46/qGxSPWGCKxSsIkZmAE/dVVwLK18SF/NiR6yXNlFx+WMmZ9dJT6a2KtPkAUMKRyChGfdl/M5d2e1C3aDzrMS0eakGodaeeGYA/gAUN82WEWoFmjCwXciCIr9q48DE7bpJNOuB8VkPkoXnYwtR3iQwSHLzXoq3agz49VoCVvyp5OBRFKAmAXk2KWhHLYTGUIdoPA7ltXh7ZFQCKpRZAyMjSCohkpGMQVqVEOo9nEP+2wfqHEwRImTrV3av57HfbAej0K0Gn9hwov94/9vaqSSKmwhG3JEkOM7lP7OIJV9OY2SiKOcVv05CZne2oTX4ahdrIFdvMTKG9EpSaPS1OzuEvy1Wv4vlrbqgDxRx1sbOStLja2GUfBQlaqXbLlUdSyY7OmTlfO5xJNQIroGpj6YImPWltIlpnhtMvQFGl6/CzN9/Gh6zc65udrpzZMhQUmeafc39QxmmNUs7BH+tyt1ypZ5dtXNlBVSs0jSq9TLhs4JlT2Y3Cu00F+8RD2F5ZCGqerjTORhhVybMjwO4UBLiD2QFwlRQBPKDF4gu6w9hBRpPVIlpUzkr8/JPxVoJfGrvKgFsRXIzcglt+X9Uw3RGT1aZHqPuTwMje7AmQ/d7wPdry2ol2jJNn+QJNfDUdJcWbVRSTKk+ZTCCIg+wMeOkNXQwCyixjd95hgCae/r9/XIQJiAJHzMJmeOVfekwCuf1espVnjddBugeuEQp4EAiwdHB9UxONOwDcgqmBWlHBHpLHgwuw70wTGPyS8bvZGXY9i3y25danFISoaPBWC9eaeGntK4QrjadVcy1fxW9YzwVaETAxWQ9kBhLrt0KALNK984I4oihvLvqRrR2Um/MtPtnjpmXrldrYsAQSg7ROU0yHJ7dGh6XOMiciGbaJ6xakEWa4V9SaZZwyslb1y28fXJhw4+i4bxHYLVnD6+1QSZnUWJLktQfm4nSrCQFiJFTm1ugbhJb8ry3VhXCoTN81FxgWN+ij1ynHn7D5QEmLTZqUYDlZApfqrE5LExiLWCJ0FxHdn9lHT0JBeLvlMa9xzgi41yIN4pcAT9sal0GVUS05ecowG7iAabLp07NdmAHksI4pbAGDKsTZLMKcSgEN+tKt88mlAGXdoBgi78K+RtGKepn++mx2hD+3zfiQxgjMhLawvJnU/92NBbukt8RoBo73iNQv/9GUb2ITBalLG0PnHP8IX3mrDedO1Mm7SgkfPk4ObQgSFImUnG0safReOTLXLoKt+Qx+uXVurT//OzgAc711CjBTB87HASTeNCL9ySngPpdKoT5t4/CPI/Yr8ichgD4HgHExwkJ9BroF8k5BXM3QZ3DX9SdhpBdoNFOBFr5cqIhi2rbajdiIpMc0lvn5m4z9TWNEs5f2PgvJ0Ac561xp6jrPEHPCIiewyf4/a/XbOYHXL9PEriNqcy9N8Phmk0C4MJ8PoUbIkZufcH00btcynS2Hi9/OtMOPA3EJRwZIUeSb4aWMjd8dkP8vKZ65mKI7FBUk0lx1bs23h/fmjH3pIxlQjqEm+B6+jgiY5K3awk81rcZsU0+c0hYvC1p0JlJGgHyOCoyQ3b2Ywd7JTN7x/f7d2X6RXIl9FmoTQtgUJxbjc7cgGK8L0OLOztNlc60WdAum/ZQIY6EmmORzzOgTktjJjOlfxrIIlCYJqZy0BMZTXYO6oVBKAcI8kqv3In7JNv7NIZMdh2v1r/urCRLdX9fGAud/16Vb3f873KqtSk/waEF5NvSV0L4tjUmbFf20iCZEyoIJVsSB5d3WiYNOPF1PikfxfVYx9v8X6/C09Cur4CKustD/MHMCZgwjB1kfJatrQEL0+6ILnaYUptxCe5xmcG+IVdorhDCb5y5mmdZQ5ShPWbAbBSHssCBWrTZEeYx9E8/Ulz5Cj67fGL1z9h/3bienHwuTz8iTEepWCJq67RxympOoCOes4vbxIdAqKbxOmO09KMu+BRxWlIH0P5oW96x99xsdIPlrGDfHJ6A6Xc3Gk/1YRbhlUpBrS/Z/Ev6s1cRiDl/byAc32LpV4ozmWrsdqchQHxyVVhOzW5UgVN6d17pauOLQF3tP9AaeFIbATadFCDOGHxDdpqJFyt9GsFcssIBS1G7YctAac2zTfIFtfFxKlzjP7XZoUgOD0wYFhVsO9rJoP/zwzesJQZWc/UuS4KLjv445j/sKhO0FYp3cjTIwDuzB65Q8ZTDqxyGOTgpIHfdxWTq1vUbtycZgVefc8gmxXzHmhQoAIG7yiiedrtlXamqQKMNNbDKXUV5977y0lcK4bVnwzEqBoobN+W+k5F6SO9unNCO3T5iVp8Mu83iBSng3EaF+ZY9zoWp0WwVhTuxlN6NcaL6mK/npYtAL254TCO/g3uH2GzQjf0tJfrddrtpsRlH0YVWvoIM481/jREHC3sX70Q7Su6PUQ/oSRsdK9I+H4jIsoVPMaJ4eMTdAycKWxWEq9S/dkGd0kIG2ZvfUJU87p3W5/IltKzU4k0/kTjcds7gWvW96xJzhr/NSPe+XFAGTsrh89XwlSUYqzYECLGdyMec0L+t8F3vYKuGCkVWhOUrHqr84eA/A50ED8P+LGl3L28KmXHx0RpuPlLlAYC4z5fIe63IuOuUlr4nI/RgeJBhnmy7JMVpbzHdTXsiucTYL526RQF1CGa9aLZhBv+GkEalHEnnIyLUEzrwBdWy2gVNcysHKVaGNWSLhTtwYrv+x26CIUDO9hC9c3JIoqsFJA3bpAy4YfGt3qxLNKyt0Jv8QQ2k+DX0ocR2hf3rR0e2QjAJvXo1K/1ttXu9VChQ3Y7QC5jO0pmWK+LE35Gvqj5mTMrU6+XE0izj66VA7oHCM8YXYokX8KX4o6TDWAMHCAPDlkcAELNcROfYeyPivMCv1qIOAbZf8bztEPxQBeI4iqpjtSyd887gUqn1LhB49e++ZPB5jyD4Q4Fe/A0jciUHpjLIdXIPKUvQIyxso2eijaIZskpWE6qKIQplN3k7FzlR7cYrVpyJNBBfSAJO6vV0D93EoCTcGEiS4rXQBG0Wa2QoR9ia9F8ZnP8zXVNaf99kBMwzkvLD2Mms2cE6QBoLwfLppdDuAmcGBSL6SPbqF6JLd1vguoAdQADnTWi7CGBpJIBFYkBVC9F1j2hjBVDnJpDhlkuAKBMU0sgVMAeThES17sUJLOE4L7gYiNUo4bFn8mGiH3FDWyznRz0XgNL5t9I85x33FmjkNkvczaPTyIpOOjPGuEKIEIOabJtrxo5YAfbJMdLcoVkT9DPB5Sgd+vQbSf9kcCtZwvCS44lCEByrM/PUbYntGYoE8vFEGpVhAPw0vrO3QMuWV64GjZIrHvKM+EIP9T2Z0I1bH9eL5VGaJKxmDLQB88o51W/oiOvE2isk74slg+E5BQVcJ5Sum0yDjDh7NoEBZHJakSCYyTploVvegM9r6lFueDuqcKpQh1pNqRN9D06TFMvMPlEgN1QhDJaWkqVlVMcL8xnTZxHbKipkOYuBRIRr/JW9DYmxnzNDHfdvvNbs3znuWeDkeJx4Lhj6oaJovVH2ylimZPn9Jl/JA8X4yUgBD57x73Q+RZXGH6B+xuriQix4xvcuZ5vzSAcSSV9ldIhfXRrluIq66yQMwEJfeMba5KWyY6VHmHQ/zMMoiQ+TWZBTkNXeheW/ikRHn/Lq31eW85EHa2MStj39ePNNIv8v4p9L+bv9VFRf7ueZlFnLmaCU0bwIPoXZhnCqWyDdRK5luOGeResOhEG/TdxfkGutMKG+FBDq0N46aNKkvZJGyeKu4w7uG8MRXsDMuB7SCCPtuYH1DNfFBgbzqVQUnqewl9wetROCjSbC46/8wY/xs7NxrDTAXue88l3QnPUeiKPti/V86YQAVOBQpO+2ZxGCNzMmD0hlUjCkkdD6iHb5tQknRDeBjWv8keoUBktaSesdENifHrlSbQH0snP/P7kdiK0oD59I3ulooQPxszuqnhriltMVLRUzwVAo33QqnRVa2cul6NQ6tF0lw9e6Om5Rwjp5rJ7QSO7Wj3lNFVukrhrpzkLJeRjJPZ4RaB52+rxqiO7SYFHQzWXpU7As+47bAY44mHTPQhVTU3iEsCrVEdxIxIseP63vsEaU5u6mrNBUtEI5ZzZaN9jz/lYjohhwo8ZIA3fpxl1TtlHIFkUviBKJuf73z/Q1NVRLq7W0NkvXGKb+JBsdNXI0fvyCMKWNFwkdz/SdJj3lE4rULX5d0mKK1/VmUo2hErtWqvdhTjpAAJAsF7xMm4kuuTWH4fKNenL8mAyD18fr4GDBt4RG4xZCwWtjw1m9DE7taQu6+HN3kcH6sM9BS87U75iMM6la/HLEK4kzV8pLDsGD0Kjt0rCky+5YEO4/4iQElgg5O5UsqzpPAr137u/K1BbbveAQwtiXc0aHAK7fKP1NhL5bQkrav1US69PfXXWoat9KBQcTQkQ+apc20c3UqmVoK+7cJc/fiCq7HkG4UZnEuvJR3EENQ2vgIUDgXyqqhEVHApc9A+DYX6xKRaSilOLNLLl8IOdXQnaX4RDG7tkiWrj5Wm0tWLAa9K+MK4zIS5RRMELZnB/i2kv9jybwLr5yciIgEdJnHJbskegB++L3wLVDJXfk3SrQUwfYGe5tXNpzgTPjD7hlDamlLDMCN07HfPEiykhHkL36VlQfbPYpUPmBY8Ty9kNjmEPjT7ruDLFgRopB6sPOwtKJvQiyd7cSgDiG4dgKT1tztzGw1rQbNNNgi6YHR1hFHdKyte38NiuxTHNwuy6nH0IPO2P/9BP2AOotR8DqdHGILhbl518+S6gaIKYOj7uo6DFRJD6+HwOYPPqVNdU1dUIxupEu8J2w1tmDi0GxLIpMa28rxLPjc5nDQFzAQ0D7u6R02Pdtd+919LGxknaiRDrFjMZ+E3RvN+ynCijYgQMlRHCftEE4Xr4dj37puDvYodqUiZWeMyJnNdeJE54UgtxtRTt8w89JK1tClX/9RCntuJ5ua5K+TSSoPzW7FXqaRGkyfm4ZPmM6NzJfkCDenkgKBodzj5GRp/TSOHaxE9oOORoRjU2KMnq76njGsgLv7MtI3J4xftTJa5vdsapYOHJngmqWBL9qGNCzh7WP41Q+YRjLvfAwFmCfDkEbL3el/ouLPDTxQ943dA6qJWKQNxufl2ZxllASJ4081CKLeHMquUPgjoS2ePjk7p4tFgRNjOcAhEyvg59yp7ssYC8AadP+YRFQRDF0AhsC0UDErHRTvDq9TOFrZ7tqQdexbF0RLzd6u+TgeIF26kGftIEbzPzlN+kstmubJmM8FRP9nCKG6TXpwU67chl3zy0EraLpIBcmDwppQJ2ow3N5CdI5AB0/O20LU+YiVtJ5m4llMbj1ZmDCHtDJm+OJxktWHfAVVSO70ePUHVcM7NYFA+wb52zVu0VomLgaVzR6PyqZ2d2rhrX6hLshWaFVZzqfgCsQ50Ef1bK7VpcK2tsKJy9jTQqE4oEyQQ2vDq8inUrooGu84ewnwNos4aOdis0FAuHCjocNaQw3MMVfEniDwmB5pB6wKIqwH2NW57i6WfUBiFyz9Get9U4IITvfbhGO2pP7bkzujpdDIZlcje+kv9Df9s1epvibALlsLVP4BHIN4+MyTZhpMaZbtvVgNvmydmvsURdEY+gLUetDQMGfQQWGFr0Ov5ktrNZn4XMLpTbjbM3KkxX0QXz5KsJj3Oc9pnOvqs9P6F0Oj4X+G3/PPqgmmt+bbkSEJQU6dbO/we8hl0tsBiZSvkzfpQ2TGF82n5EP5Apz4OGX/BG4YeINoiXa72rY3vobxGP5qi9BVBsK04Uvs+GSoMj2FTnrBFLav+MwR6VzAmPA67x59IjbnPX/Xqv4Mnk0QkvczK9Cg/Bjh1JCGIejOlWYmwy2cw5TSxyaOQCOSqKpaRpT6MxyWOL2QlgirxFzLVYf6qrysGNC90iQclyITbgJIx3uyFS82Y3MO05XrOaJkh0cIvso3DMD0aVNiSIZ9PZJl61IEx/yEvZkv9MoQIBl6FO5/3c1EMhMBvjpAZvqmirM6BxT0GbPE9oVscP4r1Ufzg4Naiz0pdsAM195vS/Mhf8e2QofsPDYdZ7dn3qRCupn1CCwxyRmfFWN1CTKQpsHg32T5Uw4kB7un8eEyfDIGB9/U9bup6uTLaO/So2517QBKvC3ybsB9DiqUAUYQPK9OYK7PR4dF37B6invMPVH7ra+nTXQVd5HTzTfsRLvllS6LmWwXk7cBIIbFJcRgbS1TydWqcXeFuTlOLmFSGoqF616fkmp28o8YgzSN5QGlQRsp6BLkol0x0gdQJ64mBLtpqsPNeiPs+pbVwMVhPfsf/JFy9v0CSa/FRmCgiLX1ntyIfIJCEIaY2Gvu0TFEFzhl1RHvN+iMmI5kZkCY4ARyZ0D/EzoGwopOa0J6EK6ZtaD7gRhIMZTA1fdEHV44xctRPNjQsXPj5m0uRODyn1wnH7AWU5Hj0DQGoVW1eG7R0M/ejtV6RQZubU2HRX2DUVMmwIefsZpyiHsUTvkh02KeI9QDoyOA1/7ThUHyAPbp26WLjyZG9F0e5T4eOD6t10OGuHo/3A46BCvQFoFnfcJWk4MKQLvrXXDgQh0km851LpUm7PtivLg9KMKTnAhvmmnIebPbNW1jlYdx166e5I2jIHGV2QeVQDEPKgJqFTczUVvv9WhZndWks3awMiBLuMrXrOTUzceBuzNpWgRAwA918D3Rh+u4Mpv6noE1P4AX/RX3pX940qDeb2IQWAlkSeOAa1Lv1f4BBjWetYu8Im7C+iZOzVg5eIAPHhDMssQ74INbUL97N3chTBlhZ4///+bXLqz9YC4RbzB3N3jzanoB94fJzJNJwamKLaegmCf/VJA7GYTjtlvyH77bNdRV2R/Fswep1y2i1Y1iQIbUdHfN1jscJ1GFG45T4VT58Wa8NRdGKyy5Wf9QvPcd6ZkaQgOwUjXhDad40A3e9FFVH5m0hg76Ai1Mz5PDgYfdQjNcPY9SF3Bjtyu5bBGSMMQpUVmKT5JQ5JibvbV6nKa0gdSLP/D26a1CHq6LAavClS2westR9ADQlQcONabbGkXoLT0dRHM/7uCOTzm/akaECQEFpU7qouk/6oigPQ8resfxvZ3oM/N4N3Qb3Wkfo5/rkIy/YRL0O5lCntDj0LrPNlL6fSeh9hO7izgC6fQPwaX3WtmpnM+dEzW0dBSiSd2NRcnlvuSalXw7JtgfH2tfav0K+YoObcV26EBAtPf15jklJFfSo+hoXe1XmNTOc+ZNcocT4FmMjDuFRDeZbEsun1NbNZJ656ZIpnL1+VGht0ojv9RN69+e27DvuoAndD3hl8TTqCeRRKjH1hITaE9ox9x2cA/RRPiUC9rngVQ05I/RjEvhc2aLp/J3Et7wlnIh2k6Nclmjk6prIwjpKuteQWo3XpB7ZBGTcq77v8+0V5kfs8cChSs/ZQYaF9CClw69QIf/dAJ2Fw8/Qg9fXw+nX/FLC+9cZWwAZrpY4sZHTc0BZEmg0WVY7vwydPx54JC5VJ28Jn5AgwX8Zcc8j57FEdiotFMSwahchQUjOPoolS9r4hHA8AzJJ3VuzHx4ZWVK+5t5rMRP1rvafwc8gFGOSBQCvSlnpe0XTS9vttkmmCq3Ig3Hwt9QVyMx9va8KUnNBiEZtu8SU1L+w3oFGQ2c6cZaz8D92qgl1zhXsRZzJZt2SJlGXeAGmdLR+1xZK2JaaznB0vcbfyecREh4eQGePjYm7h8d3BwOw/hXo1lZ/BSwn6jkaKmj/0gRTFbh213QQskR/QuhULT7twFboQUQHlLvTZqTrSUaN66hRdJreWwq+/7fwO0g4IqMw+PrXgzus6KtGg9sGkIuSVNnnY4bepIG1tssh/PruX6qyRNtPLR8c+ubPfp9HXyFJtTLCc28chUyKKF+8NoyZPcz9vQ+2DORFBUn3AQE7NJNUvyC2CSDfSJg45jwA+ZMqciZHh2okGIfRwpmfTnwQk+O3+Cd5U3p5pGrZ7Kdi5TTOeaV64OLVbE9hduyYwD05LLXFvakWZ1HVtLAzbmLpz6s2ULq7pIqNhLdDoSC2ofccfMlvTjxEqYtXR+vWbvBoLtjz0m4Xf7XerGWDbtbmot3e8KrJgLm1xN86b5th7bW0i2VFnEw0NphlmA0lsBsWbDc4hWu4dLE/hnl0k8d0EOv7NPuiP4g60JGi88965B/HHFNjWQXNDViJ6g1OX9StqquSlqp3kZCagzIMbszouEM01eP/Aqm8nXZsABbEyZVl2h2xO+wuKEo+I2yjhdwzqDBR1KLG7UN7eDE66BgPiElC91NbW0wR3RKw+NcxGBmCQmLTVUlw6KMIBU7t1iNNMq9gCJiwqsKo0nxzFqcLslhVXgCaJMJRlLYlIjOhP6XPv33ynsiERSBaIkeGcFviGay3rr7EazCERX9V+bSqQHQa4Jx+h/ceDlKoVbko4pVB54A9sra8QwTKKtBIML+d8wJsx8mKiYb6v+IS89uPAZnlvGEbVJ2OIc0dHncN6UOgoM+AIzCFNQArwENCXFRVGK8QtjbaJlT4LUO8vVgJpQWHYDhl7mNXZbhlTCfMuuMHu2+AclEyOIimIJSGTe+Ko4VkcpAcJO9YVSLkgrxzQwAXrId6MoFabhwa+vNg0Qb0/cl4lal3J/fUaLnMarISlsbwsKmuuWnkAtjYSBblC+STNuL6npNk6CDbGUb1SWGG5ZJZ+Noqvd0FyjOerRJh+MlDTD1EA/TbBJGMitjQLH1NnTSB7NAnP8M18E+cQJy/PoF2sVxa7s95MW2KHKvV93ByMQTKj87dN2XBEA9QNSkZB4bG6/1fQxax5fonC7Ad04BcOz1SAR0Azyt/GuY/f1VIIFta5Dkqst4vTi6k11zCt89G/6C6tyhBbzz5nvIAuw3/b6fabqm0iFNriOqzFVH2/4ikHgMaU8pKk3sznhjee45iWgBkeNVDCGmJLXgwWjTZh63BvAPttRcmm+Eeoc9S4LeQ3EjO7pud/Xux0Cqt62noVrl5C8C3h0XnxYYFmiX1sT88RkzCF/t474i8zfRYrXISzLK5avm3fPQD6Xc+Xy0KvBaWGWoauYJpeV7t6LpZ/nqiS+FLHoBkvcRdHqjdwUm7XDyg7NORvVIAqok3IrH5Z0e4JWEIUKPtPuaQm/a2W4sP7BYPIZUCiFrGfvdi9YmKMaTYZV+dESl9BkSq20mtXYmVEUOPWYKoM7tZo6bspr0ntxT2kEDhNIpM44wGnDjdyGBThDZaBcj9L3qQNugr2SsGj8vRI2eTe/8gQluWfb8b3PC5wbn8fmmSB+eJE5v1KBHSGk73vt5bfPUeqQakJnN6mwgTLRLoQ1NsJpKb+qsOYcwJAR9c9cHcISUpaFec+0wm85K2V7DPYkMeLKkis6ocCQkBf9Bwbi1ifJNMCGf/F8RyAkoLi5GFxTasz0XbTM8pa7fPRaiUU4E1ITTT2NoWEVsYq43dUBbDNtOFUGJSV+dgXYhpZCfWofVAZLtFzKs+ZqQBM3HAnyLKZuHXDysWICE48+zbFEEoGS8+Xhx2frm5j9luyKIUoW7ePcV6jc+iWcM4ZIHHYAIsq/9Mi2uL4kC2MkWRUzBCyil9JSIjdDuo/bA6JSYF1vt4HkvkrbpkwOT/fqf6zdWPujctprBxFvI2PfiHeaymTsQhJErwQKV3eajlZAd9fVg4AVjHZyFV0s/+1v6584kEFGYXF3rDtj2Nh5kvnyredbxqPBbCvlCHFXdcThJIHxOuvr5Z4VKBR0bDd3T1+39+gfN0AEUiLCdyzff9Se8DGoTdloWYSTfWcv4SiTb6qwA0lBtKKiGibXVwx751HUCFeaHn+DHmnHU1c8CbfxCDQI1rtcYhLo9ZG0fLnvPYV8W1//hdgOVVfPrUELxBoKqWy8is3FzctA2sbEiCKmmSx2CR/xQ6XIQnB74hd8wZanNPkG0KLqJL/4ZpBVZm40/2fN9RJQG0g+mgUdPBUnSapI1HKGJP2HnBNOmYqYJEDjllLZbmuHs2rjLHD27umNuTff0JG19lMx9TFokYmGe6Skf6vNrtAUZ6m87i9Hgg4p7VpZ9NI+1AijL5r6lb04j8i9L4yHBVIdFUKg7KoFn2UapiKdTuyxFaiI4VsqVbFRKttc3i2rNrAsg8WHEwbuKgCmzIWonUYiQrRoWovIDm+SBWIQguFIImLsjQGFyull2qBZ/Plw1CNLabqpN+Ss7VVvrbM6+TjtyxwyxMa3Xa0/5lsnmoBk70b5eFtQD734VA1+aB4SzPbL00mhwiPyzPDOzh/2cX1qxNZ+OTQUyLEA2HCCfYyljMQQ7uc+D2rmDRb/jXxGFyABu0c2cmJdSApswPOdhHkAzka5/WrfhfrS9Rq6yekRoScNg42akk3zTwwEQI+KrVf7WJtLIUFW4RSAdFyP9Pz9OMtc8KfvQ/Gqkg8NqsZIb6Wfq4Xw+nTwD8gblQBen7DWktQU3+FtcwDOU4PYSefn/vPrnuG1p6sB6MzWbUJ1dbt7Kp/XKXB6/v+x/zjqurs1aRNtBqh+4zC0WeeXv5JHJZJdyciPsqL+vhhgmSU9+vH0dD79tMJC0LDSjf/GOjhQM4DSeKhCGi8eA1EXHwAKBoO15NR8ldhKU9IeByl+e17Phr/+RyVQQa82lXoNfehLKJk5Q2V9a7SCCdGuZVVPxYPazh9zJK3Q5F35JVrSiA/MsizXgru1uDI6oc7gKxAflJ1k91moSC0OC/FJ7MlXh46hR3tvDYNZmElSPB3b5cZIdKaqdMQkNyyTwqONM0WC9ohaaQpnBnwxuhX528p7RzAPiexGGl2P63JjRlhGbVjzauP7gqAFs5kC6uIASRLz8v++xaOHgqoTk3n8X6svD0cRegrnGn8q+21Pf8qoQcgEKCNQJ/YUz3AvmVH3/CUACC67oekoyJGBWdWiGSPaehDZRi4SsD18YY695lPnSeUv6ZgiaObFsSBWDBFgudVZIxYMaeGy9B7MHjCaROkPu3r+M6FtFzrUpAQyH+uaKlhuq8d8qSnlVXOl94RdnCLJOv+3SotkL0ANi4u5JZ2Tg4UYv6bHL6LDDgsiP0UsfXOoBMEFHy9A1vZojR2GfTOH+QK6Qxx9SwFBlWvSzRjJx2CsRSY0IwohS/OTfKVwc/HmTrkgBAU4PNlUqIKaMMqtxesgDkU4EbSw/R3AeRDivMR3bJDhkmHawo7VkfNCdBWZdJIot5UvG+pfOvGU66xc9tXKQjED4S5kw5HZ9qQTtqHjevO4L/9XtpKMpIiMVZtT3MXt9RybVuon6Eja7OW8CmhbzcmLjpPMa+YM7L0S+nJhz+wTG1ESnOpTDiWPHg1du+ncZpB+teqJORRo4NZg6kmeiXCniekrnJrw30c83sCw8/ufFTJGXZtnoqMKCXeBtYN3gfLaNbuFtMhvWz7BRxVrhHclHiLJlesVZBShrpDmpxEEJWHHKkhOPOJMHpOZd/DRLU6CCVOE5QwmppovB1j46yR2M6B8MRA/6K7UxGg2xBVrOZfHK6kNcd3mYiFPBPxh8YhZkt4dQ1hHZTAY0a4B8Fcsk8TqgPE+pm04glRS4vK0a980AwB5+pOyVqibzzJL7q/M7dnWx59DaA3opYEf0DGcMP4ApaS+EaBYDLs6LpcGCHhPX5DZJ+kMgP58eIP1KjyIaiWnn5wC//SzO1Jen/1HWrwP0morOC8D4/Ygzleul80UIclD7CUaRdHW2j9EBBxNCU8Lmga7OzJnIfp4qcwP96yBbrD5Qr7cQBDmaJfMFlEY4CjWswljXGZxAmUIleEwIyHS7rMRK2+znfjwhxy9CcvW6CyXzq5QaeL65vHrpEvkBZS5IRhjcnxfp6O2PcmqRxn8RdWu1zVCcnvj3Ov4fqy4p/qt0xyhS1H8TAnXUDhx5Qtcatph1mzeGwS1XeSlHGiiGL8FPvyY9dXFGipBkpgOdwQAmjjwHZbGlUiesgjnXK1VFQhn6TvTKO74mE+3JgZ8J5uo/Nc2e3xeYHilKiUdijzEFc8fQACjVmt1dr8lMssH8+GPeZgvzOnlPxNxsJ4LgyIV2ge3rogdT+zToAKWkzElKXvHWUUBxo/PNREwMfXJSdzWXbLyhVo+DkzGiY3ve1Ktmw5xPnNKGuimeRGwmUy3NK2LdFIAC76bP5cPmCa8brhEynv9Mqfi4GNSjEYhIbEfogNIRIl9JuOKBgKt9TTXmYatfKwYR/vhQbMBjWM1J6zR3o2mrBo0ZTGgHm72m12GfbTwnVE54QcGPd8gpsPSh5DL4EKPRyRJhbh0CdIsFt7q9DwNH72zoIXlPinGU2jE8P4J6GRc/6bqvju6G/JpcB09kZFwxHbvbVV3SUgAosub81SaWyPDCPQ7tEyp/1jeo3wIfctCM/qy2OVcjLhMiqc+/M8AprT4GHM/eGNA+Wi/0x9ubieD7kizqevYYk6GZKFeN36B6hm28DRntV+duheh6SCSnwdWmU7qHjhI4fulYFtvglGU5k32sGbBVoy0Ms6/98pINUFSmyOqiH2r5rCfzyW/1hEUuBeu8vlqPZB0fInva8L+pU8Ph9e9K74ER7p94Q0IFwZOUy1euKipcntYd1cIB5Jh39IMP0TxytNcxcwj/YkjTeBdptKO7B6RMIwrTuMnn8H2sxKeoI7R/hCDvLpa6jgyCrcZ3pbPBauSMFsIZUXhLWY2dln6vls8UNmcUJhQJL9zLpyeqMRJPdtZbLjha6bwHu56x6jJJPm80b3BeDc5CIoEjCYXFy9aqDvPsBuBWTDswmNMVvzK0KraQs0YrMStPY23m4flM38pSVdlXzNHEV+eOTjrzVA07Hqe2Ec5jhga2jWirfvkTgDN65G4Um+bA+kHL0tU7w1Yyhjjoz/6g7wLNTRczJCTSLhzWBnTg93CucMgmCHAovk1Fd5ml0iWjeG2/bmvy3aw0QN4/c8xl6MBZePDMwo9VM+RzfJD5I4Yo5dlpPLJLUAIRk97YmXoT2KqeyDDf6tFdN+sSaZE6aF/gOL87s0lZkDrupGboNnM1IzltF7uwsLqmnhwntj6w+f10zQBQoLRQT3mVxKDoGBECBFbFVKzrERZJwMuJFPLRcPvX69TVXA0uHBy+kkCBGpQ0a9uiUyd1Jgwx9+5jOLXmFvGbFmPhqwVrQhaQIr2pCbS8X+310/GcUafRk/Ol1mAUkcSH+2BWP4SnwkDgqSDJ9uQ5QcpzX4qjFiPCsDylgy0rjaepTOIrkHh3J+X8EkBN0DYyI8SkDiqC6RkzScfec4IZAbBz4E3Vh7uX4JTEJBhsJIKlyzJuIL9e86f4fIcZf90HPQkEYMDZ4Eohf9lqKDVVrq3il0/N/FWcE9xYCg0jc505/S6toqaOZc6MV4g5uwb0bMHBuOOh8h4wmKjceidpEcVWYNpdaExW42YSYkJCsd2ROW/AmwhRbMT2/0qT7PFIDTlkANv1gFJ2c4ghZYTMpVXQa+pEfyYHeScsBlY03oy7uJE1hFMEevk7T40EfvfRxizT9eZvCESwo/ycMmUOwoEEBp1pnrEkZTxl1lvvo2MiZXCeHzU6U+KEBK0IOlf6dudRu/T8h1QLXds/70ijHrjfPwePnecPOYR1rVyPuL1fUK7ybLbZRPVYCVZGvWimN3tk6y0hZsNKsUKOPvGNM8mTQC3sNVeaJwlr0hChhg8S84Z6c3jFMpFW8hxCVcuoeiabXk2fx3jJnBc14NUHVNEkIXat6c36EowEejvJTZ6tilGoewgaAsH8x0CnJAd11+ntGmjTnHe9gdJAhlivs7w6HfATtlUEbX9uBJCW/qJJJNTRKOK87iYfncfhdMYcvRgqWUWWEUeQoNgPVooq+WmvzZElfRksoGc1rsabz3inpkUsKwLBj5AoTaJn9RkFvjEEL0y0mpedgDSQkcMVcoUU9wEAB3hkWtzqbjue9S4LC1p4wBqmOnZIMZmVqM6UwoOC2CTRxxt0Tsn8GN/ivkokUMShv+cFj8ofl3qIWlE4Whp5t3hbk+U6mgR0NtVBhAzyoymaG4inYKpXgsvwnHFIz3RRU39Q/TcWiApJypz8Bek2Vcm1BmKTCXqOYo03EU2l7OsqP7To9RiMWvQ0/z/RBN0RfEFiOJgXhNVrldSimr2TyqIADAheawxSp3pSIpKAqZkAP72E+DRj+wUrVBUNVXsi6hsNsTM+2GnsB9OhSHq0WFcQ8NZHjW+cSC6bEv6ba2svM6wsy+vDsZrNwM9i8Lc7PMSUUeRQvQqS+iOF9EjAnEaBiTwZBSl5ycaphVZq/JIFSSvIk53F4KE0arAwJbygt3yryMPwX5PPG9AhqTf3ppqvVWa9i5MV1h9mVaTGdliZxUlrF5KeHgxSfyaRAulnf+Kw3t53GG1NvHKkkbSkuco3HMXBl9md5RfSnaLj2XyP7qMsq3dD2kWg3jGH4kzAh2CRu8jJVPtrOAQoCVmT2XWS5YoFaKmUxv3FH68pYN0CK8CXkHzO9EftV0clDcPaH3EwB9O06wHMPuDt134JF0BAFOXv+bviQoBafzreQ0FtPTmDIlMrNNQlk02PcLkK5VghsXMzzB2Tn9us3fhDnyEbO09OYU3giTxvkPtqtPrf1rmy4Xpjlk02YV7q1I7U7V/9v7Ez8rVIvUtAnzjYqYs1yepI1XSc0DXDlQfB7cFutOMjTmZJ2yJhIneXaVYSD/2IQK8HLP1EfXCm5BOiOmXUgKuFIhsTDp+c8mY/1IFtKCIWDkuBwwLbouX4c9TiOFjgbDjdUieWXxiEvv7b+wuzrqRTWHwHXDVknXost2fWTyHi0Bc3TnI+J+6JptUsYq/mxo9NNOj8NrpZB3g9mBRiXk2rJVxcQxrd/FAhvXDUB7BMoKQLT/tROl3ZVVnhHfQYUr3fuefkCl7EK9J7u1n16hi0QeQ6xXiDHGnCVZJlT27BvddrZuUQGPquv53682tUCra1QjurD8fRCmTfv0zVpvek5KQKI8nQ/E66SVfyRe40nxrvn1c5UE+xpY4KCGfzyJWfGs7qXZ1Tbbz409+ILeHK+k3YRTtoj0UVELKvlNa2dHFmoXngqV7iNU/geJpllA1ex9mzwvkVBWOqzfB7UzLrYvfVZPLRhZ+TAOZLqwvpzhzegMdh77rJYpS2B2b3tPEic/kLJe5IT+jr5izbhnxsv8QxPug4u2t88MNwKZqQCZ/LLBgsWFSWpV/QIo5UfFOf8mlVXLeHpmp/kCtCWgxuygEoB/w+uYjVR9wA88FflcJixQtMW96UlZAZthbEwD91fHkTn9EGu8msl2QSl6UvzusjKyUfJII5qV+1jStdLec9DKnrm11cYeE/303MPdhdCsp2iT18W3AwOf9TBPHEppJHYE7BeLPINbAjG9hWqmsyBwdEyioVyOYefCs8wO8HvMXHPypehpIrD6v+oyv+ZdNCta6x3UtCzi5H8S7rltyOaOizBaPBNxhKA94IbSn2Se9RCYiFem0Gd1OkKhZ2IdE1ISq0RV6NcWTcj5Pc+K47NpUANNDeFSZSGmCbvJcJxy9DBTHVBwJdCLTwmNz/hALHZj6y0EsLvV7N7OErsZrBcd9pJwjPPqRbJOmDPIgq43CMkxyUBLVXI7mtc6URvfi+oRf/u1WCK07/Y05yBfv6sxWiLuTQAxqFhteRnZQn4595zJhXM40BXmt4C3Wvtc4HWWecp/W4iilircjmpdjzDp5QlQelYZ8A0nm3Us1YJuwHoAntmBeHYJX04R9xzUnIKJuV7G8q3wsuYEkYmIaOmCjRr7N8tjI+LU4FiMPWBO6ChSmyFdOpJvhUY26WEzMN7nRUw1qbr/KJrFPgGBQxssrvPltADvCVaAGEYs2WiH1HRlHdM2SM5x3cm4rv3sHMXBjNF6tozwa3owYyYX95a5hQZtOIJ3qddW8Z3f4wHVvfI6BeqlKJWRIxhMuLl6g6lOfHiACSFQ5vTxqp4ZpNmd86ataudZBHE+UZXqMoYgLZ1VlCLODGksNJ1GyZoAXU7RFCpJVKXlBNVnsXikA6b4LJcs+jHcd5UfUIJNR5TjEp5hdFvuYvYc6mONAnQd8HyS2RIH0NsXPinRDo4JhUAZXEV+A+A6LdSmO6UY+vGLf0ZMRaH7OGby1wyaypOLxY8p/bkTk71RYKNKYIjxRR1zfCLh/hdE+xRvqBbgQi3yta59NFWMq8VXbNUdi6fow/kuTeLi7OY6JUo4oP10lCC3xr63FYTX9lYln+1sgGtdbA15cDknOPALnLMs/vu4LJ7LK/nXVO3/MraLsGS0atob0rNt5dW8j8Ixgon1HWOKecVXjwa72kD2zjGHzW/5GHrVqfjqj+8/zha3Xz1Mp91KYc+kVfh/qU8MJFblR5V39xRAKdA+MuccidJqmPXIXxzFLD5OLX50CYcun2hTpAzoQltGEvsNOh/tmiFLyidH4rdVGtpvfZ62FccPktDQk37+gVlyQntvinD71VgsrNQ3HijxXztmUCTGAM4DVu20Fngc6nK1DIGuMAOxBAIG63yw0dgkW3vSW59IsIl8TvUF1nEw3096TTFLmwtuCRrKTFOScqcm9w/uGPJ+blyUkgyakdWDSx2baz9q8hkVMpNWssURfzQkuNGTQrjZaSNRdpH8MhNfmLojIWmMQZ5FbDy5YPejVhoKpdEa8c2czB4CsMK21v43lLRRgiWW/tC306Zzc1FXpT1qNyNOwes/6y3yhDIL1yZoju9geas9WyI/Kk8AdPJocjnOIkAdQicVDBLcRMLLPPLSHOmMzKW0yfI50bZzdvojW5K0ODMXiqe8Ea7tZdTPM7xbOYNu5e7xdaoE0M+CHNIMZ9ibrznejXDwkHy2t7HpfQjGmIOiFBKwnEOiAv9NUypVBT/fjgvbQT8VS4I0v4GnwAXc1UKxQ3OXhE+5Rie75aTg2RvFxlu8MTUGWVuBXFFG1ik1tDB4Fbl4S+zNAVp07QggkIAm0aTmaxMub7KygRDuV0kW8j7n+hGmNm3cR34w0xbCrhNpzq5g7XZsMAcNv3C0rWclKDiBaiFIpxjkYCphryUag6Kh87Zm5BZl3f5oIxsou11rHFCNr6Juck6R0GCisP50vRl1pcK6ZZ3qphJ5SD41mF6sqKyCZmKEIj6odTiIwO1YO8SKPCRSa2TL1rEtpshMTtcI5yIUf1yF7Z13vSW8xohfA2FuEydb7hSSNwBXMUOkNdXf+19gHIdzTuZCJjI8VpzUQCgPe9dEhqdnjEX1KTLQomclTAemTK5wnfoeirTHYI/MJfnmkKF+IbsyWPa/p8xffZ8Vnic7HfMH2arvMDgf01IJWr3hVGUKqjlxx62zmGHHEA3Fz3t1oMpA9UoBDGQtJ1y+Gj0DQ70c3ga0RDfPk2vmte/mzzODTLVn+OfN7YscHvxYuPrghVdOBabgKcmY4+OG4WhEUey5x/zD7g0ck1hQuKjBN6+zMMBQADMYPh70BQQC6KIHZifTyJcLERNxcC/Sxx4uEhEDs7yO8veYDT9yylqePlLKGV2/F7qk9G2MoloKAxbXDOOyqN66jfhPXtj1ZPp9YtGU3E47tUItIP/A3xKj7Rjbr4macMQOdx8TbMgpRLS86MBq7apYA597wA0G0N04poMpBTHqqxBkIcCi//bw2TsBIdCWbZMRZf9sTEXH5e35ezUxQ9ZlwTW6ATkgo05V3DEd0wmQa1OW11G2WmGukjXgu59lZaWQCC4sFN8jMAfct1GU02MSJLaIRbQXAayhMgOpKQwC/Z8PdpjiLzh1RZbITMv/NQ3vbT2FVk40G8cnwdIIZHKgMOXRMitl68TQvHqifVgVxgJKU1Eqy5LxU84Po2axyNmq2MCypwrKL99VArXdIk0IZfft7iPoxUls6mQM3lkxThSA+r0cNPiS4UO5SA2XXO2u+ctmnDIa0znPFwBgMcQGzugSdRmpqpjCuFtKxC8XcRQaTz9hkLfXWLYYSwacFMcELnAFhbvW9nOThDJPeBYhJzHAKbEVyVzZ3OkEkB+yFU+WfxVyhwp5JbWcYgz9vFB4XHzwVzKfm6KPB+d8zxzNFJJnsL30zHqd12tyUUbLHqjTDlQZ2Q3gTn+8vDHMQtzn/2KRBh/QZ/NT2wNu/dICrMX9aenJ13tZrI8ChpWoJSj/8mqj0LSCSydWJCscexrTNThUi+uutm9WSL8beBmGct5orN/hM0LiDBCR3VsgxZGzpnA6r0heptxp5QqEKpLezs/WDgRXI3SfUdSflO0DHD92z+vgSBiUUbonHdT2jWw4byDbgsGo4AXsDnhFJQgoKxAOFMzaP6VbHB/z4HXJFrvVDBgKY6weODP8AwI6C/K76X3Rdl/P4javyu8voPnpagcZEReABSlCLqpr98OIitrJ4HGcIYjPXbNKm7zws2ZQI6KyQW8gaPjGXLUmx9rGBe+UL7zQ3pvlVS5sKBQf0On6jqx7J1MPrHRSSLjxRphCY4hu/Dp7aJVhGoTwOiQENcdIKZ/iYlu86EdtrWO0pRIR4xE+RhsgXFhCwy1v51ty30yz4dU2p1m4W8CYmpMEFodJM7MJAMFXBwuij8sLCQHNBwHSuj20j+5bQPFT4qkMRmn9Y3dEixu8PD23Pe73/5rfE8Emyx31yEse6op9kk69Yo2iGZRaOQK5ukcQ+FNgh8twqSLFGAjTpnPwP8ht8Q3rA12vu12r4NR4+bGjpz2qKYzXaQEW92UZ+pUThZYxNz+3mzSf9gLuSSWLqL9lTKjhBvfjEYlUcdC9P0SqFiZWVVk4fK1IS2mF7UI+p6xF+3e+ywujUvr4TdQImeYRui6SQJhit6eaq8ojIjWnlUPhTLBfy8Uz4XdJngkdX+spqlbQ1wnLj+5m6BDJ33/O4f+2bTEKGh/JbGEtx0m3OeIvbx75TkVnlm9WT20gHSELzOiBVPF9B9B2cYqXcMtr3t49GShzql0bXFzrpBoSOvymKunkEek3BHgZErR9VbnMfBvduark1GaUkwKGUG1EkzEgaco5xZTXVcurEMBbrvVhzcyVDCMeS1iZunaTl/8R40DvOGBPVzo3VZNNj2pnrWt7yj/RNpZLzpgMUZhmI0OBeo0Wbr8Sxa7RevGRh3SteG4Vp54aAZ+VmvuGAVQS20qMBP3IlkgVAXkZDwdrWwxuwHXUfechNhIZywWQa4ItZCuG+A0Cb/G+Hg45wqw/ByFuh6vHbRNRJkJYK9+8V99uD5oRKPnCyFNGnGQ/PCcrjTm5r72nopQbNc0z2D1eIKdY9STEN6qeDj/uzSHVud9/9MyUz6eD1LFwnd4tZgYq1KQTPW+EeCXdNymzH2MkEokHO+k/4xdg9zFzTjDH+gMQpAQjQ9A0O7sTohJI9a8vn6Qmnb7bxh+PrtFtWTdCjysOEASap2OidazI8F07aUi2BbFUb00LCCJkD9KfH6HJkWXAsKGePSUtasFkombLzspq+Hr72L46cmFs6IqDh5vqHbSchk3cgEAX72RiaKkrDWnITaOL26x8jPJmDNAT1SCa9RkTCidFd6h25ky1g36X1dxSz5MIkfAmVOVReH1tqW0tQHLaUPDNgM03GSQqaMera5Sq2EAUwMCqYN+KYLGVNDEuhfBL2LABl69YprZbSGyVDsa0nbqwcj84+2BjdvxaTTMZptDuKJioZuV+PfIs4alluiXLNRxXjkTvVrFOS/kXpkfMyA2g+I6OsjptqwD+SJAWhF1ioaQ4M7ADdj9iVtKwfQYK4a6tMDuwFsIUtn8Ml/wGWFaMhXdddNyB1nW5mzPIf1GF03yZkmVVKAf+4vQKlkSm91k8TZaoo6DJPNmcrX0ZSVtpqX2U1QH6kmRmMkIN2fTMrAruXvLsL9J9sPSVY5jSjtzR5VXqcfBa8FJajZ8gNcvqXcJAf4fcuBAgJ6jd2Ux3z3hTdbzS61euo4KJ6DH4hSxzjdFDkY0LcDnaV1egmG8IX0LzOT14pgCYd9OxErkZD12fhzpzLhLtPKiJnIDPhz17m0h1TC99shg0rnxZPK36qR2eR5B60g5k1rP/aM7qAaGFUU2Wz/Ahu60oQu/MWxhcpC0Y0VAQmKrIA4VpFrlQE2btld0XvNwTl/gsHe8mDq9eB6pem8nVDZEulDlRTB2B3Np30qvTqVI71E165pyERkziUWj79U3pja3Y7pV+JMN+qH3GdXxBNwm5OnL/W1lCFFFcRdOXsHR/2o8aMa6PGKWtIlCMwuWc0JTWJd8gWYXpeFAPgVe3S19qGjbWa9yyDffa6LM7OnBY1YyisUL5xj3dUXYDcHLkJova2H6bSsDwodtHxQKCJ+sGEZEsCHOJJ88pKeoNQ3c0fHvutJaHGnqoEk0dMSIowOnkC5+cNQd3Xa5fG3xAVD06KKZH00YVu4kaDDlQkrAjzUd34h+DFFukNA+sw59DW3Td848kqUiUi7HtqhG7M0Zpacqjd2x5g7fl6L3CmWf/xIELa45eU6oF/skJL+azi9N375JUf+qLyzWV1pzCS4aYfKxL9l1C2GyWygV4uxfgtS1MfByVCdXyxgOBsaCDNuCY+7xaX1OdZTxRhFPpk9jBtDD0bx9Z7Jxqm1KeBxYuPDghYNUehDslMjt8IG/7/K0TmkQDkb5InkHGB+Mbgfoaji24Fdcenwm3oo2ARiAoklOl6b+DnEAzCYk1r6vJhbpljXymbFLJeMVuK8OsMPBnAd1ORqZsSwt4SytdTSo9E6jD+TrkLRbIDM/yyJF157Gh53XZe66MkyXIXxCeGK/KHyyb/mEjtTHFnBpm3Vf73yEFkVBb4q8tnCcHPVe3dJVnj2paS3zJccWUjWat3PEv0yvFW1ZaFEEX0stuY/VD7mJm2a2793BLJzTRc8ILtpsBpi4SeZdv8IOuScCz7SZG/TdEcDf41Qh2DeSJQuZUK4WADcVuc4x1RJIDteGxbRKue6tsPqUfb8uIp5rkYDJcKX7WC0uGtdZMNTcXrWTe535F1O8do+3yCmfKVd2dAiweSbCYL75DnLVQqybBt3w1vgFynWuqYFDorN9PniiFbTfRPjW2OvFVZJyhmsB187aC+7vSgAC1EIIHCuSliIdEAblQyxlMagHaldgB5JqGaVvFU5c2gEmJtcnWR4Dy/f0yHb4kDy+G093ARROi0ifbfhC7QtJXGk3gy/ytTVVgqU670owLJazPOdulXcYmhBE63OdIzVEuwK/0z02Qsf+8cMb9xusGRl5Q5QGXzrDy2RD9eCvwsaN2sBe6wqLlmguhiQyYpqp9b/lpB/CKAeYOFkyTLSSvnwKyUADZxA0HWlf4WyRXYHRTfoQsxDB0ozzowiakBAmQl+HrttkzpCqbMnrnudoJN++C+i6LZMzACzKcQ/NwmeN27HCL93MqI60GaAFEy+o149/mMd7G3pv71RKdOS5hjcJfhzIgljsKpmQ2IpopO/CqMZwucUIfk3o2cfsmZW2/3nDeWYRE31MQshnrhyLdjIYeJ5hV2mNibq4tHik39Y6FNTrEsMhbcJTwIAMxr/kG59zeozuzILB9mJYqt8KOCsPFtP/BQyBm6S+kMGVIz3OCZ4AAtKh+I/deNuj5RbFlcpNaJOfDt6wOIgH86dWdqv4Pp8qTBaJpYXL35dxYoCCKXEz2BPsWdNMAAladXw9kospguByZu7uowoN9zJY3kfOQwwk54rYncm0j/CVZ2y7sjJxqAJJz5RHo8QMVbdz4SjYDLzhAdoKpBXMEgmr7Wu/e6jbGSuOioFMPpBEGdui0sTgmTDoWpNvaZVJTxxxswD/oSkDF4twR++ElydJaxn4EaLjm2f/yoqxhItpSEZbC8G6EniBTrlvEcawTwStm3WWsPJUZa1V5uGx0Sbm2Ir2sIkRgxaZTWTKWJRzX5XhSeXYpw/lPmpEQmQHHX+ZN3+vs0PJ4kRCzHyYLlEJ4mx9ao5y61qF/yiaZuq2Ro5zCWkcFB6AYuKEMMLZuFEpfZji9OvRGRbot0qFqNp6Hm0vtvfphzaMr0ZlD25VEF9zrj8TWNclFWcsTCvELNUSQg2aP4hZSkkDAIs89Ek/w3tSunQi/xhENbeaOpALJiQeV4RAfEyQnm3zMOiyySWxU+E4CdWWZIvlfKMyGXGjlNecUlCa9+6dlO+ddsyo3HG4z71e2bQL3ZUW0WSiZha4hF+FTq5Ic5iDgOI9GL7UJYOylm0zuVPRy5jmiHJNv9uggAttjmb3VIpRZFO8z+PvS/JKXA2p1Zzv87K7nEdNiZsA1FJvQDdtSOR+bOL6LbuDXW8wirPdTxtR0383MCZVvP379dpt/g/wr51GyHl6XcJsaRZ8nb5AssLRXx1AcYhhy5QSvdgikIY6PD6+b8GRAfK+ooGpOY+W5kvBfaS8w+HDbexUj3pQoV4fwlrfr6Us/DZxQ/EAulGYwNavs8AWVjJQbyCTB9r2qLw9JgVFIG89Zi78pUqZqHEVZnI6dbs5BNqEprZGxhkwF/+0hzZBmEWyLb/CAhlk1JqQqwzkvuZl/fz/AKbPOuqwk2MJRlGQhqzyUXxX4o6Ga3p5GMWWMIyM755yJU9dkpxkzXWbYORWNrAIyxxlkXClnzHoN6WwFQ6yUzValbnbRdWd6Io4rzybhwRs+S6IGzu36vfFU2ll3DQpnARJpkfQ6uHkPAlmh+Aye56+PdQt3ze93Swnzm47C9Hzbuu1RMWZvpOez8y+6Ex33fcTdLUP2TElfEVHjW732FFKr673SQFbbii7v23R3TKG2lhDhVyPpfQm8TW1n3v4wv5OPAUdKLqbRwlEDiyujO5lnRbdT3YFWj1YvfM1KJQRnf8iDQ3xNh2BdOI+VyPvsr7ZGh/ex5Q8BZK8BZjSFDEOL3mtFtQ1oGBC7k9YaKJTTlz5iJkrxdnyu4zr8NOqbk1MnvggcEtJvoiBB78VRUNKVfd+h6lnZEdb/bSChQcHMRvbkPUWDUi56m3RWDk12NQWL4H8C8Tq4NTVwq6QbommWsyv3XKKRbpykc61yFeGCcZk2IRSuSQy68wwXSIfAdllUZuW4LkiFFx2m6Ka/PM2wubM5OUsaywldhts7O5z5P2DwZF2jNstCol2fpv2eLuYBbP0ttmmAz6r8iAla7E1guOOsUUxfsV30UBs91+0OTgAGc21RyBpqwi46mhxt+Z+j4q067p+wgGfGA6ryzpPPd3x6Uq+e617eITC8vpbSY4tfpu9fVdCTWQWXPvbH3NiN0BQ4A7n6SEObwypaFMiAFa5+0ALCTbRrHLdt407UqdN0Kh8/KHoGmnOtBBYTUuF+q7fWejpG6h2OqtOEcpw8NPOBM0ps2nzdz0RB+BpwW8hQdy/hhQqVW1IGrDrERGNiCMteu/AMD6IIr8aBWTOA3z5mr8R3C9rTebIefNNfQ0Z3myqf4zSPCNUXJsqsMLqTUKggURDvTx0Vwj0+pMmIP6YYZcnrVXJVET25g7xwFqXix3u7kaLjXzUzUz3uNVR1y7u/s38jj86hQb2Tekjua4b8lDGL75OZoQoAOi7ObQr29515fbzT2UBWz3G3QGhSBnNOw8vAxWUMUZ6ttG/XO8T6juwY3akryeeDlZMDHrXwLxfrHaCi/cfuauqNS8M1ujW4Ncv0iqlG2csYaFPl4hMZBsyFCr6aLvhcvuKvOFkDSEbKa21ZYPsQte1wKVREHI9eOs+lmqEseRICo3fqBRh07y+sEmrQHDCOqP0ugFd05tXtpgSZMQqBXL+vOsV0BTSpFKE4OzrDjjYAAB0Xl6rimA/vNbRfhbUQ12NE/peOaMoSdLymI3R7Tex7pZKzi2ZIwdNWsUyddHm2FWvEkYrBKo54y90EkK9nYK5ZGXBT5XkcjPIRazUm7+xDhJCuGuR44wHCEuK09xtT3c/slRyNmpEDE3agIe//P/XlWuD/H8U8+xiR6Y2oWRUswwWJRPJ0Ey7Z7f1bJp32J1PjqrWT8k7R4JspEDYpgp3yuBXG4Bh6WkPZFwyP7zHUTxIBBUp2uv+IYzHUQnTNF/u4E2KTt9bjnKaUEPbLWAhvaiUAVq0ZR3d5rt4i3JNad9ErOqlG1DH5cOmm51wn0X02CJm65clSKRsVWiZBc7d4Ava2CYAzDGKvvTUk/SzBBiUtQ1uPM4o5C7bRZiIz3jSukA2vZFKzV5qCI1XMBrm0xFeVpc7c2zIYgv9S+lpg6mRs2hnFGeyIK8IQbR+Sdyb/94rXQSAEbosISDqieFojNeUjaA/W24ZKsU/HwdsEyJunDd/BjSBPOpKtI394q+fSQUZiajgqrYmS4unNnQTCSVj0/PzKFnOCUL+pk8xhE9qO6lHHjr5hJmXDyhjtmASDAXDONDtJrE5oTmvVfvKEljcQoTwClU2yebsx9s5HJLTS6yVAeaS6tOjt7wDbXaEhLymTlIOrdo4GaHloDaO2wQT3uYDztV9PO75NwqBn4rRzfgRuoJ5JwQeB+sOF4v0EYndWTefDcmzq0fFrAV/D7bDRrJc6cLcIA10+YxjyNaSTA3awnJFhs3PdqjUsRZHu9FPPzepVXI2lQBLWjOiawtsjm32PlFA7FfFPfM8HWWxM16qN97WCqkc290oLgpqgtKI9gzYq/H23T2mzYPtc+1BiZYhvmLOFwvniwbB5UCMn+n3NsC1yHrqnMisqMJk88Ro9ZsDDSMNK8zLZd8jv6H2rOilW1YLRmftRwRJPStkqSSHDj087/l377CsmGvtabHmr/S8wHC1KiAAcZQXMHChNOHoHGwucUIBobS1lq3EElsIV9JYybPYVi18n/UloOThORHScthCV3+MP/xNYk+t04AHhiAs+wA+8e2UlN4PdpDCVMgK3s0Hcj7c11o/OPIOXJGTyvpq6gCmwBQacfDniFxmLbUn3LBr4sdIXnvYn02Nuj4FP3OEll5LR3oETrikp0/MDDzU1VDM3GJgjozD2pRllv9yDiHelECECVrUtkZikzhjrQTAsD1w95obZOwm5JjdjssK6vaVwMcaG2mAISoxmL/e3G2wnSiVcUE1kbtwwbbDMwAs7kxcZRYthrkeB6YzM7myief09g45IZUY7Nc8WBhgxyReXy6e451MEa3BBq7CYZtI2j1lunG+GKYO6c/h+AlLrAMbcIW5yF61ogt9kFK/9+YpCa0q4p80vr+/dWAnZhNelVgl/R1IE/1/RrZBt6XXPOLPEiSDFpJivWoX0rqq58aLcMNh2Qn6SBvDACSG0Hn3Ud57zRzc/LGRkDu3qTcFIbAW0Wmy37q0pg57PSxW8NoTOpU8Chaesp0LMQl1qGppsi6ZKKg+6iv46kyqMh36t/TmVqdHUwEgy7fz9budM6QBI4a0fgE2k2sRZHyDTfyNOyW57U1APuljKRkLv7YU5Uite2zGE73KYEvU/1ZgfD4ZSW8e1TVyW9XLA8ExNVe9UhOH4MeAbs8tD4kQzbhtSKH20u5f+wq4yL4Do+t8gJ/UihdubEQCZb7hu/p7p5zc9ozJ8OOP+oVRGPxKdBsrX59og49ALuisDjLfmK6a0WUEIzKk2u5HGAMgQP4SDd5qDyiDo00J4tFFjOj5zLV90r8w7HWy6mJXxdjqvDtrcbRNUjSP2v+prXrvbZfSlEtfmdzmV+o/SLtpgYaU+OsINuIy5h7lCNZJKQCt09DNn+NlBJQ22Q7NSMh3rZfdUCpRWkAHlO6ShnriNHrbzt/G95ekTx/J64a8Kxfv5Jj4To9ILzhEQayZiK3aDgO6D5AHvH+EG+SisGfGzNVkNHhhMqtZiK9TPR9adefqKob4ewEpDfvxhOOnNRBMEvBdFHhHNUsqLYToOw2XtF2AnI3lQ78dS6RqW74wS/on3madjbeCtrUZ1amyF6KRCWrgVUcolW0AqtZSvUobbPXgjJoF74zXdYrqusC6weYg/TzOreqbxG4PJMK+g9g9Z151fsK3153FDsegi4UwdrLZV83DvhPxWJj3C3uxWRSjentTZzNmdR8+dyFDQfXaJCV9CXGImDs1ZqPR9akMLW1i4AJl5nthu+tJ/QTa3WXdH2DWO8DzePWe1zlzelHnPx7vhNDPG1ravkqOzHOTXx1X6mFeyQqJWC7PwUN/flxm+E4mUsjIP9Vu1dv2fJX3czhTosYgsIrROrt2mDiXaYDxXw2nGwhWwzBR3A6YHsMroWLJMK4pMY2QWsAKr1xTkGYOuY66bJjc2CWW8PebgSLeNn3BcB98Oo8n29U8+Q9Box8DeDiw07QLki3HrbiiGD8nH7M/u6Fv5CVQLFmiUkqprujlUxMZ8DjUu6dqIXq5N8VNeqy92UynhWKoqUd1jvr6Tbiv5p4hQaGW+HjvXT0POSTKePmy1Vai5+9dWTpV8T4uxW3jgGREQ0srwIOMJwu/PNyPfGYV+HUIHgpxMV8gGA0j+4H8LvgiC2jFJigUdwRPCvyJFdbVZl0u7L9+PY81yesG5DZic6ljCnCYGywtTC0J+vC0weeLSdDerdkr3diH1xyGKFvLgNLDRF9J+a98nFBWP6w5vfq69LrKsqGlNV1kgVI05mU45YcEL/yJXiJHqjZ4yO0dEWFhWdz+irOoEa3atRpofZOD+Pzt1rZdlKeJZB1vSIb//+kLHoPcUM95wrNK9JyYllxncFsYTP6laOBrQeYYXb+TksnvvCtoZfOf8+smE2Av5/hrjIkdLN40heaRzYeQqn4BOiPpmlT9AjURZgSLD/Nx+3kDApHJpePRbWKhx2Suw7/RLSN805KnBUr1rLXtq5GJkq2ZYQhzYSseD98ZJSkDSs6P0wryCGNbh3ZGe6uIFL1jHAfUiLP5plgmYQjViLaC/THVCQZb3QLcz4Emq6KGIRiL5UQj/cZjKOM01iRVRJd49ug3kaeBYfRJfXzr+Da4hc50Rz9kCLmwBR4Q7JK/Z01fkNui/8paF/hACt2YcR/z8rOymn91reXqnXa97hjl+/LCIUo1CAZ7H8RhJN2CUoxIPhpcCt+2VRqSRenX3pw2Oz/FsLg9k2V1KzTPVHslsPC8EnMmse69dyIfL5wwc9Cmp9FcKa0CkpFuRIcqTAQewo4WxfrV9eduUBCeZeENSf51yUUWwRy+D3YCHDaGE6poEHlIrgu7Zbvj5ChjSlfteUoRv+iroodEJ6sq9Y2Le8e5fcKh/cgiColvbR+v2cgEE+mJ7ufKCbKZhu74lQJqJJPQ0RpUN701lJ80upZwCou2si7ZMqqwCWDWPhnowP5YwVtx/JArPZsKe0Rc5R2wX+9jpjeYVxo7GS9wzVhDXHrIWky5OJNqNoOivPyc23bh9ZzDmdfUyRQZ0IhqPst3gRAQr/9MF2//CPh6yRX+KMi+/UCFKwCB3Zq5i1Bhnd1w4gchMAUiNCDBGUc1SKaMvyVnUPmNGaGRBz3QWvAncvvzOLWtVyCUIr+ta0RCeGF/+Zul/shBv/qccIYpCQwilT4GuqZbBbSNJj44JWekZ8po8+aOW3sfoCZlKtVL73L9fo4jdzUQzn3XtT9CCXuOItaYaK0IlbyHdQz/K6pKwE5Q9SiY+AFaw0FmEa2u5mC5sefD1Z7B183dXSozkGtJWlp+qq0bBowD4VPdDtf3iyiuRqijxrHkiNw1T08Jvr5IT3I8I+EIsll3Xss9X3IMCs9LRQrquy+oRi8GM17TZNbp913LMZuKrI2R81v3h/skeIj1+2tdZ7US3/qKbYt0VOzhsFFfcKoWPbfQZOQz9ccvv+eC/b3x2IHci4hceZDycAJEuVxrgFaCv7fJpf7RmKtaa05CiDv8VwxPBDj6fSSsy84zpG211S45DoXjwGPBl7DCl7/0lVQZ9YQCuxj562oHwpM+MdPpbRRKs998LC7BSteCsk/s8vtlLTwMHnNZQtceaDdwB1jeYoIt0SzHZNwTTV8g0FvW+vnJSWDsONxPVkkM86dlWGaSXBpN2EauJ69dImOgLzT2HWLPnC+H+c7PUAfI+i6nxWqPghuGvzVoBy5V58Tev3bg+FHQ9pWR+033KYrzx+6jOtnIDqpeHt8Ys3WSgBhN/ZJkZ8ZRY+x0GCdLoK1HiDrKNsZLLprA6VAPx7dsWrYSwSSObGp0KwC7uwWLJxJZSnbrRbd5FggS5xU6K8O0aCQhA5wkfpUwdS0W3fb3liQMspm1QbkWda3XRiwP8H5bHKjXXPGDqcP9t7ObiTbdABBF4FwHTq74Yp7yOCQNujuq3pF0Kw4okNOCyAA+UJ/t1hmiKOQix7QTBLCGzjsZaT/53skBbZFJGjl8o/OVV7X7034OGrbZVGJ65gwymTr23d8icH0dLrI1QBYNPvakmTCy6B4791KBbMX8ufFRscIKqGL1C6lcQ/MHEFz69AlKW0cj6gyQZKZBdKZAd5KK3FIWjZTdca+1/h6qrex1/F7VKng1XdKZXEb0bxe1BtIH1ytz8gsf0AjHixDp1htaucJp+A7Y5JU1Yq7qOxFlhiJ3xPRmmrU3BubvAGHsjWTTSWGF/v2vB9hM25nDH+h8Ifk8S3WbY7W3P1rrYXonhc1KTdhjuuDKMOw9rqWuZhiobzq3k2uUpWvsKfzyRWX4BW7SNFxA1o3xB7qhhY79KsuoKORD+6UShKxlUeeSRSy5G1fz7OYMLAOLmO2sl1xPPmNzFYi5L6z2aRhSdS6Mk91q3SW1/B277KQXIWKX3sclAznF3N/9DrHkLuNT4f7ibOTh0WWZNLOLmV/w4mmRB8REKIRAtCI6+tWdAI2jE8ECDR5g8AsUMDy9xHtuBc6IhXtNSIJDDwR0im48alnDfNc34zOJp7rk063XjreDgsiXgJQVnlogQMpS9RD/c3VOlczSzVwz5oenbWQVT3nL/HexvoR4GwZbUZRlthMuT7SiSpDFzNCFqI5zg9ZGLxt2qL8z2dT8rOcwvqp1QNWpcaaNCxOTowU91N9k+iba+V4WLXem0/bkLbRCSGQgmnIcgd/ZFPH35V/eZZvYXiIkSmCB5141E7NSvftxBu9XiX0fs/JC132uR8DF+ssZgvLxXhE3yGQfskhZyJBGqesVYoQinS+u1RcCYZhweLN7Ex2ox2n5mwpt0Ss1Psv3q1vUKGJA23gwXaE/yE0e8xKzZfaYPfJOreG395Y6JaVGrpU2pbqP+B+sDz0B+UPHRwGEXZET3Lm8BptpmhwbKtzESh/W4QOsHlkr55eQT0uSZQ8vwcWfG7x95+cOY2xGwqK3Ft9+sJ2rkK8yLRYDX3kCXAikhbPIqRg86X5X8jNzOl74bQBFnMJ59p4n2kiHMDf1L6uGw7QkiIbhiouM9GL/it/aWC2iNPscehDKNN1v1TdqlMG2wA7FEtzmxyln1WSyF2Fflr65mGqhOBtkNR8hNCVLODRCrRxUWDuOnArok1PQ8ED4hFpydUuwiBkBybGp0JMOPhL9wkOaKqPme7qvHgXKc92Hwu9cwzeqimdVAC5E+jwIs2EBNx/VzTVrMnWmkaI2vltQmn7fS1+NcqwXDaUViNlRDVdd58V5xYj57Kcnq+2UexTppZv96pncDg/ldZ7d6PgjkhUSxruaLBV8+x9pdeBLzK8Q58HhWur/lvXmJKmJfSLStmDkpCfvO8n9AR66wcOQ2LJqSRI1CSrWyqmfDf0Fud8XVVvyRlECl/Q6BMdwI5ug/3HkKqPRYS/Hg/IeL3gyQ0blsnkoAAeQX9R9zbCsxV3npJYpBw2MCubS8J721NSRFknEH2BYkiCSxID8EtLcPZw8fq2hcjIjbyxukyVtJaspiuXxBNdLKnwcYLePoZDjD+7eaCFL1Pa8y2NSpYPQyBwjwbp/3C4CH5QAuRfK1EThJtG9JYdCeYGEI6X7f5h+52x8OzzI3O4bo8jwMnSKG+wy5gjxXCJ7mbTrlX4gjsvw3vVC5qjvdHAa9FvWhSRLFV+cmOu9Aemv3Ea4XmArhK8gpOUyxbbIv1d42uV6bMlPuUX64J4SLDQh+POTsqw8nh+JrV77Fz+YhvhPV75ufisEZR1bsrHPpsXSa+A54brLkFYmZCS6pHHZzB3srArYGA4E54+gfCGU9zflWLUhxuO+Hdldv+WyzqJ77ni/VpJhWkWZJk2OUPXeddXELI+dJ2BE+CkeuYjMiRdwbQBZUuedceDG9OVRethjSC+Pi0xkkLGaCwhzeDbkVITpr34RgzgMhweI0UDyAzqOezgHMssXRXey+sP9qFdvEtzsMDnXbD2YuehKc+/AoS4ovx7a293Ce3o787eOoJHhvj/j+7mRpPE+RloMnnM1sTLjpMcZw2GSfyI4Ly4J6+1qQDbMh7/ru8helwfvsYIoewHgDaA0olpSfO6SDo6ROVSSTYRj+Deu53nFmeB9B40MasEWoU0zbYNHN7EmR6i4f4w9TYRT+SCrIb0z34sbNUFefAe1vSnP2g+OGj5kcxfMcRC6vYpAxv4kn3db3kjCiW8bOgTiGeiML1i0GfXNBEtYcmEpdg7UilfZX6sWrmKr/LS3c+LGpx4FKw3aNa5jHSvJwQ435V2gfL/oUY0ssd5gQ3GeKVxz0ISBvovn8Ft4UIUKw5p6zKPPg4B6I8/dPDcU7AdVcC59MQyLJpr4noOxOJWr/pJag0NVHDsfwSWzB67vnnJmWZeF7N5y9+m6ufXHSfoOHWcjgXULf9MNda7BuigOL6F/KQ1zChll/O8KoDWEhogWBwuoZ6eTkcfPjxPefqR7k3jmjlLeUFYyvoENHfTh56mJBP1EO9LxA7bxHmOGvAw2QezlZYgRmyXej8E/yyRL6VlLygImtgsOV9VUAXMvf45LyYBXXfJ9/s98RH2dycIzGNEb48xvVNGypJRddwKNhwyEwL1IcLT90rS4kws2tqATxt7f1Z8+4ZQK7oO0JNtumgj5AGFPygvW6p46Fvd3hotAM4sCMFIECwmG2ADMw4fKlBmvqyscrV481sjwTLlceh4IWoFDLt0/iEQmKNSVSP1Qj2BH0e2DRlTrUoHCER5c0sgtXOgEUw5VO4wb2axgZe6gBsfEVSTK15UkVpLVOXjSsO9AklFruyjZ5uFh71AF1tDkV83jIY5d2LTZY59NPeEQTe1o513P6TJtqDGxnE4pOEC4WCMBxBHVtDGooBoN9v4p3t4j9sK1Ylx3XzGa1ezxXwkeE7M3md3B51t2MCTn97M7w8/EVJeeqg0F8hL0m1mKjKzBqdQ+Hnz3Ce/ySMVk3ySBoLRgN+hUa1R1SyzMlY3e/mszxKg9h1N3X7kCGN4kRpr0fKscMrCBS60t/icjaUCC7JjknrZKBWyqYlDG2j7kYsfzfnp/QCTxZIvW9TSKL5nHkuaxev+N2SUvlnhRrdgukOp6ieVGCyL/oSu1dAu0mGVVupceiNPJFF3LdywiJNaY115BCGt1i72Iea+WZRyENEh83l5DZD+uAtEXkBnKYOoSTW5aYxFfqu5ju9Xz12QfEVMmLsfGsINhkz9Kr3marhsvW5tyZdUI+vh5skgzXRVa9KiNoI9tmzqYjw+lNeCDg1gSfFDQCh5YqxOLjWXxUMnCvzdTquEhJFvNFtSVSANPCGBjOhdBOQ/Z8jRPH0CZ+/2Mvw6MVPC53FtBRt8d/DrcEWDp1/NxtwP4C7hXhasYSGvDamZHZ7XVB1y8ElfalEV1uv8Vl20JuMj4ws6+1mUIdK26hHeQQlG0dbv5D6jZ7IPMbp//CLPCUo2TTlsWd3Ss4/Fx+GAE8ihIEwIdtBEi59/QdxPzT85RzY64nBPY+W/iV9CKYDUeBN22NopM6izQ1pd/B83x07T1erhaHbkSIpwWZAl4UH33W4QpXfL60ThlO/x8lWJZ1ABIlOS3ZqC5RK8eOs9DCC2k6iuddFUQ+2Yq77iqHLyqBdzw09kv1eb+IHFHYkewSDK75PDmDzWhEt5UrmooB8CYbKySh7MVbJ8btEy+glOIQGuYnDK9Id2hIBUdNfupAYQp4+qXjkhoe7KsfuWC/1qYxZPYWlzknO6ycXFoh9x9lTiJI1+te2h+9z7L2nmzRHQjyHEW12cZXrIXMsy2O2GmDUJPlELL1iJis9coQY2oMSCxJjZAk6H5P/eSL7Kwko8IoEUfIC5O+o8Fv8DWtETVCNthJ+0YAM66qdYrFIeaCSSdfK2aeJeTkOpjUW1ojRetcm7lYfmsdnXc39huoLw8WShjmtdNqBihQGePBTgt2nn+dR0iKGGv3kScV4FF32JOkek42ugHugUG0iM4ij68WqyZcTe8LClIT0/GzfH6SqoYq3FsBmceK+lqRZX3RHQ0V+RF4ht/JgA3DqNCuGeNimYBeD+Y+ay/MyORU+q+fHKalQlVfTiu8tZVDS17hzsHiIevFygoTFYydxz1KQEBoK0CHtwGuMr88EHsLQMhmP4lKfrUp7m2caU0MwQvR90mglq1egLrAdBTadLohf7X3wST57ZaBxBwwPMNOUmiAlCvjKW6SbdqUvRJfZDIwiOFws4eOGayKv2gUr++TamWsPaWqDmC7Q8+k+GQUepFLcyh7r+V07asDQaQ4eaxieUMFuse1UXC0uZh1KU8lJlzF2cO6vRy4VsLCoOPOppJqHwHmVxknT+l82BnmuMWRpSLPK06Rjd/o9LMn6m5D3p4na/5ih3prUxRz5bE8RaqRfh77VI2PF95SxioYOWM7UjxIk4zunn3Qu0WX+Vjp4f0oQrrvHLSXHh28AlfLGKPX4PiovuETNlBX0F9rAAqwCdkl9Talv512+IiDL5R3mTOUSp+GGMBYIWQfkU8yfb/2gpKzUGnqjn97RCI1jZvNceTF0IwQSdq2PIfW8S9Qf8IdLyAZ4Mm/6MfIFXtaFrnaomFHZmn5BfLGYB5i7M/6MbZmazw2S8Q68vRP7aZZb9xPOx1/L6m8XoPdBYK9GcMYDq9+rYaJ/lNP0EWiZVdpvspoEZflybvBd7EEjSEZ3qrMjIeXH3zOWzH2b+XXcSjoK5xiwXCPIb2p1Nq6EZwspaHoTCwK3Vp6aJwhpayRx+z6+tQgV86gRmMBaob+fiQUTgHnl3Jz11hQFJ6j3Q3K0B2fyvHrIIw/dGHSiSqJwCerPggYdAirs3s7fsc+zy2TVlGn08jwb4mvG1fi84AOGfYx2qZo6pSq3bIWL+WT0HPxXpi7Q8T+3SIVAH5loRYAQeLRmLvWY2fRhfm5XNx/NRDoDOPBYK3NpitFlQqXglW7nK+gmlkeEIU9SbIL7bmYop4tI9v8MHaW6QQgb6aQlqt01Unfp5CZVSadpAC/Mcohff7sScq74+H3L4Lde6im+EZYpDBLtSXYvRHalbiuBtbYqtB23FmVCHG+4rmti9WCGWe9eMxnqnHDT7MaRDZF5zdkCTxDp0rj/QgNuZxli7UwoHe1io9+ZKE4qHAb+LtwSzd5uU2TZK2xJmcKYmfCKM6VKxkyvWvy2qxgsr689g2AfvGQ0UQgpqyTMNIxkdSa4342NUtA3D4J4Br/ehs3EsuJxMzM7nRrU7Ir+KcNVN03y9i40f8iFtJSjqdIDiWbIlNYjXRizZE9jxXsyINHNWv/nx48dge+ghaf5SrmXtoSGln7wb+Pe/fcapIJQr/JiDwKc6yc+ijBVUe7m68y0kqEIqE+mGXe5Aho6XQ3peRvWZK5rn7QARmnsHLyD27vYSoweSCYiBzVXC9VlypD5KQ1IOK2RH7kBh96QOju6EhLvy1a9yJysfg1ZXi/jTo73OMoFYV7qukFV/IcocQOINjZ+xAvpD/sBW3Derg+647ftX4aoJRntImYpYoDik/ZGVOpLReuHOt8HF6egj8Ra1JWuzFGYs1KNeLu6C7EBqNXQzcksmJ2Z6fS44se1nvTeuvKLADVvoEM23RDFPh/5uIaWnBl37Fbg5ftI8tgodj/Ieew/WFcwXuoHlDYE4JXj5vb1hK7ijZUHqDDWGn1d1JE0i/yONKsylGBCdyStMDnIBHH7E5O3VkNUYv4X5Jvcif5Dc+DzNYYsrrlGKd4vP/7rx2zEvsYMC1fIducDYoktBFiLHI7AYW158oJg3pYHPcZFAvua1lkrOtgkzMh5G87J9tx3y97W3Qw7UNaxR4jot4ZQ33aeq+AQYDrjSV/hDkUFOxDGwdilpc90XyYNElCuREzkdy8XN82qCJ6vOcinkstjMDy28G5Rt2bOFU34ZJ2qBt2bkBAq+d+kJnyDp6+PjkTaD6zmUTuWrFQpqo8iIhkXMyKgfQohPdj6+t6l7teCLnp7aueJIfAfdA9YWqudOlSmb6sno2t6/chXy/bwmyK/7pVR37CpZov+RpoO+lorDAdQDCYNxB/0MGHfzhHftz6KYdgO2Xs4vjCkSMrx+kPZihS21LBYVOq3dJtuj+nrlxyluIo3nJsOen7iPWhrEXySsPHBI++P5sEMFl0hdqBHesnwbd9fYZzC5Rnx75iqR6Job39a7XVhwkiQX+Q14ULRxp1U/SER7JaVfBkoVVsr/eXHM2H487it1zpKrVS2C+IfqLV4ntj578Lpy7dTmksSa/P+owqsa7h20kYZXWjqQqqs2Npu2TG2vnMy6WxJOybLIFAPBDA/bmC8iPmY2Tq2uVOTFAiz7Y2W/6Xq3jcrs9NjfdkO0CXeywn8nlcBnkSY3mT3VkSEwwKrDNP6+0yGqWKRPwEP4hCZIKkvyDWggJKFVkiXssNhyquMuprJ3qUuS4vS6U4f1dpwqiWNQs3TtSuGKgxFfdG6lgxHsiw4P+VEgMHj4Fx7OtkCr2tUlpxCCef1S+lOD6iqs+siglqZmNOLAsPz8w/jX+DirrGlw1V8FSnjRbZhniM93FroFSCmQNOnDCouSXXrbtIFKHVxidEG179BsdDBJt2qpujP8qIJdNYp94INMd7VamEtyPw5ok5s09xIhiNuEJsTp1UWEBT94JwAkj+xMM1picB725OzNkP8CBQcGTR9f6r/rFuVGaTEjOTr+ecU4xEwu9rVUhotQhG565Y8MqrHjm1qVFo4iXPs32XDgWi63bIdqTMIAHHM5qxQvt/l7gRu2GIOdNK6NiUdFFIXoz3QZdd+EjUTYDt0VIkv7o+wuaEwBGDe877xij+IwNTfxLogbbax8wbzd8jMW3MmioTahge8b996pwnmKZaoCKA63iLIKjVFnJkTW1QUoY7/iTZfCOo2mAzyG6nSyPc5iKkWDZDYWQ17IcWEjjCPzaMRtU7/Clvxw0ro/WGlTmYiZgu9GBSOA/CipPhBMOsXYzkBo9EoKWYtHC8iexzHmbE+IeVKQgKkwO8NNk0oxE5vRjxC0Qao0IMcfU7nWzOo1YlnD7wkZT3G5Dc6EjBi42raCkOTFwTgYf2HY/34DDsKNCCrb24lgXVBbfCw50ky7UpnQif1TgGL4VYPaUhYKpIFlo8s/+wJ/WV3BuGCMMrRRRirs1CKFgZGyZ/xWxv6BS0/4rBlZDovBqCnrCxzXiR3/SirYv+1MrTbCyObf6w7A0Da7GA/V2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aYhHdubK/b9WYMbiqTQFZNRdTaHJ1Coz+gznC5J29/l+uni9WCTqRMIgVGBy5FSCqTCP+Vdrf4pg20L7fH6DBBy1jlcdSqZniJF4H++wBqtEIlpCbszZaXS/5sK6n5p/WMio7ozJcG9HGjMN04/F1bmkYXKuj204+brRQ8M1OppinvJ1ml/1KY/+VG0HiOgNRGYkaapMd1OeoNlEkwTqUr8CYLsco4UTjWKr6Zx9fqdxg8F2zrFjDyOpRTJcwdtXafpPEhp6vXTu3QXNJwxxe0anr+Nqln/SiVw0r9Odp7UAqkxoNvbU3w9jN4fJcD8wk85tDJFc/jluNDwuLdYJqkP0zJtjdjadRVOX8PA5/34VRYcshqWTEAZpduCkUwb3TVXWRPv+yQPUr6+7ZDiJM5UwWbaAq36YDvMJhbG4hWzM5RPQhO37iyZ9dOI2Galq+StqgHEprB4NWe1/snFcO4REf2X75+Ot5dGgjm3/tvyXfykPQqKIzWoS9StW83JMYQeorg5rUu7QM18D/P9XFP3QtmnhrJLi6qM63TJt/Eq7pWEys+4oEUcHKKnL+Pd1d4yG5ugasS0afL44R5xaeLe5g5n2296Nd9B9KXfmDxojNecFgjT3ZdIu3VYj8U+J3w0L9SxI+BQC4tahLDQUXUJV4xiLgwLd1eqnc7inddq9SkQSyd3zg8KBL4aRkWiHSA15ZlMoYv5K9ffOop1J0MYsvi2AZJmQJ7wyIuiUPtL0dGE6MHjDhlIurbhD6qJ5SEihpJ82P5qul6jokf5uhI//FSM6D0EQrSEldVuay/jpYBhRNatZAhugguyHOyWQ3Sa/6vSwVYLTv9gm+csLAwk5lyV9ikOeGjJvIALD9uiK/zDliI0TJLEPPcLUv0ih7YprnnEPejlSWEaXqBenrXjTUIt8cgfaxWLyhxGLiMw0vB4Q0Qd2FkHHMviop8/o4YOonQ7srevknaQxL4M3xTzwr1TIE2EaIDok5gGyX0WAbu7AS6LguU+k1a6ZkevY0yZNKyNAqyY7Eon4VsCSEwOHVi9bW9xM5qg7iMz0NatTqdZOEDzEYyX/ep4Yut58idmOYjLN1oyOXeJHYgCgY9eCE97JDvOl8LJVm/OEgckKsh1ivHLk5lhqiiQBtf3W84nw5sfUrBq47iyaIUQr54t1QexVwqqQUmF6HccRT55l6AOxiOQVNCXCD6pjRBk94rUJJ3MQnB1q5OShskxI5zOKmR4csMurv2Ub7lb+qGZTE/gMbqB+rBNeXbNiMgNnVPhrK4Ue+onJUdiKERahVjdn5hSTW/oMOO5vaMjZyGYyDNvkagvuizkxLjqxcMegYXbh1JnXC/9Z1wJKTKPnV+M08g1z5SHub78gTU8v5y5SpAiFF9UlzCAhxYWWxxaNMOjz3mD9cFi559cuDthyMz00QTEpP6qvhORN8ihtwzdEhS6UU4caQo/oMbkxgvYxbeXpiafzedmEryGZJh6JGcNb8XaCADsTko5KjpGyytVuwf14b9WMuuT5L7SxxEwT/bZJC6EH1r6F6C5f+c9D/bA2bdKx3ZvZeBEDAlw+SLBAQdYyPYd7RdW8Qw4e4PIkfKLuHXOFLrExJfj6Tx/4rFZxWIzaN+Zzu+1+3WLcsHubdCdGFOCVyWNpAPtaAjq3cg2HfHpibo6x0mV2bNqgRW3OLnpL9ykPMn1lyEciwqlKzj8DBv9VR6VKV8I3pqC9Z5clFCRhsi1iXjAS0WVo+KW3DM4LSXtd/Px8sE9ECLqouIDPNZjIWGoH4uQv5Moo48aa4/qO78ATH60tkJ74ZF3MJWBOx77IYAGtqMT2lS88MKLJkh1sRug3DojC8fvZ8Qh4c0Dz+rltAR+Av0MoYypXCOYy9vmfhmZhN60nO6ETSdrg7spMfE51n8JHYNrnGeFgX8CSTI/7rgJBe9oIt6jgx7UiEKQR7gMufTd5ezF7b4N8i2WkQt1enILbyNEA/gkObvUQLtQpGa2MIz7xGVf4999iQf+smICbfWhHDAf2KjLtYcnegyUO9FldgzP63S10FnIxMzBylOAirNkgHgnw1apf2seBCPNx3poxtLFcwJ+26sA1c6Pl4Lyb6RJFyzuT9/mwzQmCMOudN24Zm8fv6enG3GiyBRX8Pmd6JR3sNyu9KhL3jFbGOMGotCgISeVyqsB3INLZRw7kSUimCSJl8KIkAA1Q17m2V6UhI3Ych1xHRgNoMzuDKQklmzhEYSF+Z3EmW0r/zH8J0MqNom2+dgG2IPfHboT26i3RbG8ReD01Xgl1NdKQNJlDoghlbwVRpZG6744V6Mvs0iActqpKZNJ5XrWSUJbhDHsti9/G8YeQshWiSiA1Ta0PgAI/6y56pT9XPUu+IsTWneOghEQa+8DiLzfYbz6ZZXCogIYJ8AnZUSCLL5qA+vxJUQ9ybM9QwQfdqcR0pG6PLvn3d0n4Up0N0P8jR/TyzbmqMGsSBTI4uofW1hVSPqdV6uUEiRhaU3eZZunvJD2vuBrSyYVL8AoHmyAyKm7014Z9Dgia+cIYmf/RNwPBsAu4Q3HTJ58cCcT2Ytaf5pldm1Oauos+U5HfpvDjBMVRed0/XRNPU8IoCjN/NzcBuB7f2rtxN6atlHOVftgsIMZDb+syrWYRFkigXI0COm98/Ht0/0qlQ8947ZtBihFtB0V0S8NtHIKOKLDcQxuAioXX3XoDagtjA0vo4XvQ6yy+Rv2YGzX/CJsMSIWjkyMcrY+4HPFDEFHPAdRTYujyOTZ+REcIxjiWl1MOu7ojgFT4m0caLU3RDXQRPJbUk8b9efNqUCRM376PgzJjkLft6lm+anmFf7SrexWvUmzpiAen+bL9+6H4jjZcEjrmvL6VFjnjqFQHEL1IQc/4nJCIm/9uCIRD2ZsXlBfQj6cILtyls0JmOz+gEpqjrAiiCgAfXLLp7XQLvnUtuEzfoavTAxotZbOtCSzijxo63XjC5RZ2vu/6dBtgHxMCfO7HjtE0C+zoy3ZTdh4ncko6vkRRrP2VU5gmp13h2e5G2EZMNUVnTMv2PMA5tdLkI7wb8CT0NIYrxY9reSYxy+6enW3Jqc2JIf0JyboJpkAlG5YOAR9nGbQYM+UWB5O8eqwziP0zV74qSha8ZnCjGHzHfZkzTHxDKZr09ELNoShvHmMoKbQ48eScM5s0zUln4lCkDPLN3uOSEc9qQemCn7x8PTovacx98JX0/qOVDVIt6Oa8DzVQDvF/BCW4p9qzDkFecfppyoRyh0hhirO5QqnQfulVnz5oKaA5JP37pQDXpK+pkky4d1HYk3khRvGYAvfNej/l/2DdxkxZC3VQ7vv4XoMSFsJ6o1YWRg5YEa8p8IGKN8a3oG28yiMRvfiHnUyWZ19ZpW8FKEsPdWf5PPNp8wQPdlaEG471ZjDjJBzV8IwNQUk00K/9vw+HF+pfFginub14VJLEKmDof7oXAesseYdKAN+OtteoF+/4pE82cL2LApAwJaRg12xu7pm2MV/E2utJiOSQZXDsylX9cfYhYdJ9N7pNo2tKv999XTHrX1+dILavVo+48qVl9xGdScHYFDh43MKzjx5EiH2jS9H5vU280y8SuBDsLrwtfw2e75czD69bREHJKh5FuMV8TU8yqNstFJv+Tb2COZVj1pzlRJK4I7Xh160jOrAxcZcPxtJyStoi/y4jqg/P6sr3ZQ+GcQDDKcNybQXQb1T8pajBpFdoTKBUte4ulwz38uTKa2cR7H4qieFn1xz4KWHKrjZshnxviLz2i+WP0yryuR8ckYlIl375TVEanvVDRGtcuogteYHrSG/LbVOoqNg5uXXxb0Y3xA9CAzMEx19WGk5Y1yDHwHnnt9PUZ3ggNoNDpYKsD/WPAl8yIIzo3Dwful1vV0WGVxijgg1oYdp/8QMGVxNTmxFiKKqVOq2o+c6OlbLnuNjMjzV982MEy5jABO3p6VOLtL+A8bcPkZsYca1ptWaUXtx3qC0mlu2894e5c3HwYTJFQvOKaxGaCKksbyW7iSgrGzf44LdpmJ5YZ5VdrHB2rI/Qp4EEYN77q31YAkImhMBs7apBTx6SR51TlOftvIpUcq+akxeA3PcW24QszDYTufxEb27p8zvrWyTyYT0YI00aW4GhAb0Lrc+m/RdTzh9zLF0OnlK7RO9YdPJ1r4dhOj2+JETDhHpZri4VGKI6/rlgg88D3QBzoO18DYh4O3E2cftqo4zWZgLw63xemnHV6liuhtHNqT3bitej4V9baFxJNaiixu+Wpe+pXD2YvzHKB+0Dis+Dv3hNLlpy3MLoH+4cflJDGBQLcatbQxW9AjQxBcbumUOGwHhGjoR2IUpkEVt4g6TlXYBMuYuvybNKCGy18ePMzvPo8p/UwHHOLx1+gJv45TPkAP+kaXHYRZ2NgpmHgr33OYQp3BJsgfRvcJ47WrMADRPu9Z5dRvyqDjjvPMIf9kPI4Z/QLx96VzIziC2AO/Y2G48kySJdxw5RBRQBIsOIQAIrPB0feyVmznJvcKfSvx/7Ct87h1i5Ojpu0IeZ7K/YnAUfOsNkN/Xf5QA7uAAUh8GDqa2YRSrlPUMixuvqmXKq+VIIk4G4ufMsxFz/fEPt8m3m3rI6279qAElmYjS0+3mb64neoqutASP7zstYEUrUNla8qPym+qaI2MdbCMRTMbvJU12WugwJw8QK6rApzKWc6tJFA/ZCKh0FTM+R0jz+o95+mUzZpMAwjOLM3YGV920rmkupjDdY8TaOA2nTaYOehKH3MJPNR/lsmnYTzE/cNanW8MBvcdd5OqYUphboyMOwAgY0bzfmrPvHLsQd6XX7sNZN6hn2lg4kB1gDea2ZuZswdr/vZe1EACdWKBGpwwJ4+55dXceuSefCVdBekr/z1FvDFehRTGqOT39sO4hHcfmPgjiCymEuvU3kP3zeP6BuOIQj1GIFrg/0/Uug4yvyvrO8/dXMDHmqdpFTKIIt2JPoHyG033646uR+XeNrlFIe/7TRke2oWaLhGiz/mMKDyheuFK36KMlqyTD9iFa3h2JFBuVF/HuebhsMX4nxK58JTVCyMzbPNfNpKhR4OGaQs+g6PHMFtZriX0iHnc2XVLN/qaMBslw/qW32w64SiczRkmRLyxZpMDh/5qIEroQVBit+UVw4AYLeVv3RfEB0FCifjNIovO15ZrF3jTFwg+X6pw1ab2BvA0wQA9b9l/CHvbcUWOXpIZ3I43PKVnuIhYA0BEsssptXI6oswN6CdW2yrFH7pONDiObgjygCpTCNsl2UiaPCedlpl6eSKhw/7ZxaOfQ3b1wxI3LtmZEd+O/ecS5VNE4Y7Uqgmn+BEZFC8/oJOqe1w2n4UGJE3vLPcoH3OQJW3k/5vSf5czlQJLeFneX5OsuRjiyg/F5eMgiRw03GRw2P1RyMJcSnFfDdCuo1UxKeKWIljvZlvtszle/4qjrqjtspfBCAY84FGoZuEt/egKkSg5DmHEqJ5LDfyRzVASNalkjs6s3Oj+VxT7itaHNhL+tLr/icSxLbRHahip+wtKcD9n+BhYNeB/3sKj3STOuh80/4e6eUvTVNt8qeqeCOzvzF0z0/ftiHCrFG7TKy+HDWYIJFY72KtnMdQp3VLGs0q704CRmeu6FcjAwncxh0kTY87JxgpiVBnX7m12jYtOD9kx2F+/I7MhL7Z+4Y/Czxj8EG0xjXNwa97pUjsywkhUOqJgJdjDUDziUBM2s6rYXwumUOomYXOUYNSF4PYsfUXWMEIHpTznF3FgcaCxU5cKokoI4A4/53LcmMyuNY2c7D96YvGv3ke3OixWjZnCyCn/hFau9s7KDCfuOZZeT5bcXjpFmfJJLIhGLFg4Xgw7aBhSG46cIzJPs01+mtC5uMa7pQMXn+NjgSGeWiSP/TbuxsfrgnfxJBGVyj1TbcuO4KM2xWMPW8oc/sb9oLzKRlfHgg4UDQO6118rk4XG8VmBGWHwzXtPZikKyblFF5akOFxNFXp+aIb6lTpM6Nw02hS9O4oHcWioXVO85SnPIkyQS7baWZ/pTf0sVwgyne4HUSlP4CsUvuEX3AjwJutXgi9LRWBD39hmt3vK5LqMlfzblOFPufDwmAo44loDQf0LfMDuAQb+WLnkJL5VKx98x2IyhPpaZLnqco6SENYFyQi4kOwkb1u8eKJ8D+iHmDTqLHwRDzz88o1xk9JCMovlX6CPvtXbkevrVv6BtKT2z1/IQEhfBwanW1SDj4QgCRUl46rcrubUmmpz1ZaCO+wOVFZO2axIl0/gcLq+RV3warzqe35H+RGSlYT7E5/TfdAtcJOSaW171DoEaCgOSDZ9OnkqfwElHVWP2YGRbouQe0+1YHlCrz2rCtKAZZcDXtqMbYZ0s2/45AtdZG/WwSoH24MQlyTyfMmitD1DxrkRw6nILVy1FTY0Hzxfo9b4a5gJLi81zCW9W+bwX6Kfbh9VMYA+vpsoM9SADATUX76Li8C491KCf+LZ0hF93lUECEe5ERsc60J7a7gWOp1dAD2o5AmVYZYn+94NbrKcpbnDAG3PUsAbfNjwq2dlphJsxnOwaU/tCVOAPtpFg/cgXo60QE+y3Ht4UhQ6h6PkV0ptcJ8ynDR1jriiW+NzyDG3vS7l1yq6FOqQPx7j+hJaknqGuhMIJOJc7KRtxttoynXnvmaaEuwBkHk3hvGdri3cjzvtrH1B/IAxhOinZjU5Fmc5Fg5ce1OmzeLbAlc5YWIMgkvqSEqGRUk00yruOeL9h6EOaNKz8aJtnfs0/ZMRON0VNxeymC6EdlYTkT6slF1f7O31IiN6psJ2zAtu4c/NKCglknPU4el2tgGhX/85FERsAlXNYObkvAK+MCNsD2SPpGQmlnf0tIPt3k4vxso5e5s9GdMZejiHXPFLCIT+tc7FeI4oTTqeQAMc+D7SkQ1qO3HUo71xALZl3fB4xxMzH5LqIb796WsiiOW+vY+1HQbp7joDh9WmEak5+Kjuot4ujEzAd0cGk1n5yylt8lETJE9kfT7+KDm9zuuTIhafOonXJUgf5f6oFLy5ftTiwONzFtPY8c9ysad77898aR9HwbKgC6csE7d7y0AiTsYxzyf/JrU/mbbkSNlIYkjSf+3omC/72TzR3GWZf9c5R/k7dfuqfpnhiXeUKSogpnUohy3B0bGrmdH/4BLlid5f+6OnEKAs3Y8zgWWyKfLbf58GliKwpC1DxzJL+v6mvavhZvtICWEvdTDCNbg7QS7acTZgUh+LaCUo29Dzt9zKiwNsKGg7wrXhDTpqoXeoSjyG7wwKBOBIMlvOfUZen6Iji2d6aVSK0fQnn4jAZXFIC+mcRDe3iSPtYTI2ox3yKdBbJppKcqI7HXLASPWx+4KXeNk1bR3TFVopU3q+Djzu5yftKReOHJjXaDrt1HpfpMLp2mjjRjhSIIpakLMuw+DkMLKw4jo3wmnEfEHIZg/p4XxSTb1b9HdqWw0X9+sYWWqlkMMqW2UcJshdxNm4j+ILNlpf8P0YxFq98bPAPI/0iqAToijCup5gTbsv+pdA7Lyo27DLtcZV/JP/K8X92xHIpeeBJdiOXVskBcJuqAg20A3ZB/uqqPwVuzbgwh1g6X1RB9u9soPf9Xdmjq+KXFbgmXpDU0F3LnDfiZL/+F1RKbgZKsI/ApVARMEu0/Jf6PsWsZSWWQ7lY4nT3vhwkbot+VOeAKzb7DxQjcPvO6V+rHijdGO6sQg+x+9MG20GNJnepvUtFNZm1hdgDsSfMnRkCD3zVwlQeYNpLv4rBHqJqTGUoxj+9Ze8CQk8kvpXHvz9nNEp+spb+SrJNNOyt2A1iqog/asKfzVZdYLHjOiJPKQNpgJrcunJ/X/LmWj3hW00K52FIcMMs7LLn919qULhG2eqzp8IBKV/JDZQeLS7XW3doVyajObGIWs4vyxj4sAQn7km47P1LmbNVuwfcUbRoSZOTwlOpiQiqiEyLVI3LigT+46eBmHXRWKpURD1tTFGUhA65M4jM5bnR1JmSizTvveeo4MLzKPdVQYRvmX2wCAfjr6QMfLe9hfFKezXlxiz0gItXgRikBqa04HjF6D5g7uxTCSIsdafZ4EOUu+fnIhyx065+93/xlZIgDNzAnqXHOr4BJNCpCU4Bnt3yvgBXRmDBf0xBq96P2/JS6hMbj44mWJg7h558MygW0mNjS7g4MbicCFOYhmYtYTgAvWRyKEvO3n8VzgNIwIxfI6oXqQoqFkK+WAeWpe85a1CA/7Kq/kt0pGi9QYcRR2uA4myAXprBIXnmTtQlo2IIb4OnWikSAlFoA38rnuAqF06sDz/D4wxwk3MHNRaRduGa41CkDUBR+k2p3u7xWSlmqlnF/gbghG7xvuQ6+5O0BdY+kAOc1t8SrrUH/kPvu7S1Wmubqo3PHhENlPh/LtljBH/LdNqyF7jgOGSBNcFD/5zjs4O88u3U7Gob2gMMebYih0I88eoVXnoOF0UkteWzFeSswfmQoepC4YtVStjSOQfiTKrcpaHpDc2JaLZYL8L/8MnTyfsFFs3h6wrHxiAN6dUJM+wBH35Blgf1Uk4SpU1WjvQsFuixsqhTlOzdDVqvBxeXUrWHt2bOmgM8y5PiIiscMwvp9ZB8As6qMxHBubvJ9OVLBZdMiMtCIzmhzwTDKWr8BeznpfSnaqo2+aGfUW+4EJNisJRFJQ0AYQMr1t5kg3fMJknblMTJ+nvZs++z9obVVeJUC+6BE72vy4i79g3TumXnjDVdRw+A7yeRJH1+LptIZlamqSDM089ryxIRpzx7mY4ZJf7xHs168MElU5CYOH29kqU6bLYeeftdjIyBYXu83C7WVV5XBqtbAEPvGQytiFUnkjnLr4nm8ygVZw1aSLyZ8IdPNoPLfbmMYtGPXYvTbH0lhvdKUrRXozI0xYApnrYBNFGzTWHwMhffDfjr8R325JVpyLHpQ5jlgYejoTG/9tA6BkcCVUhr7646c7mMNwjGUg9ujSyxVoiLK5t8frHk4ec0p1+2Rpeh5byeQqXK4241bNe9zqE9KVLi9nUHLfcAAK/ZhZukpn1SU8I/BfZCDo79oZBXJoT2ruYKGLhVMKrbqwb2huSpjXtBy6noM/h7lo/auj+O9RocJ/c2FGm60RGqJA7ky5vorqV9WYeDEdh0ZxuV2i9UOX06lKboaMf4OGO1JG6ls1Xqyx0vNH3SPhTjrBUbj8+rHPiGm+N/AEZNfZJXqW4CycEl0j2Ys+aKx6EARFGibusf81yKheji4Lw+/h1clbjWHEWMlIqN1ZcsfdzwQz0+a/nJHnAiQnl60wNpK/co/ZToffMjY25FnK2+cVy7kj8NkUUK4SaqjaNqE6NWVcFTYco1HHYxq12Hh8LZigQOsPr7dom3hzEjfIYMAbKViQ4gE1V7uTlHU1pGSkkStYqcqOdDve+H8PhPDVBKaSarQ3lwAXXObIJrm7FwKy0C9yIIIO/u4h1DcF6TZUVudZzzZZROW6ZnzVj2VMMuHmjZ8W1mUXEUmfxMJsEY4reOZNLyF+YrPA53KKSpqA1c8Q9nUBhOO0jw2M8dqLrbyjPF8K78YcclFF1pmbH0EBiU+8o/wFaqUhev/1qcI0K1n0PUbPZ0d3LAkaqRyafU3hQVJq9+6E6BiLB0oZUkUCivVJSsfSFNqYcXycduH7yYTjeyV076C3O3Mjp9xPrSoTqWgnA96UE9Qfqo+AlhwN/2yEs5oQbkx3HrKFztu0XqGSNUfZKak/1MTw+FWLQ/51DLj7nNWP5mQGBIMuKB7UpMLfySBd4/LA3OzgYw2+WgII1Z1XuquwsoD7oelJI0NTsYEPe2mGThqhO1HqkMn8nYxFQzXS0VD+sVw4bVGNEohdqReLyms24pGlW+5B0yRKoS4KUW+pAP2srf8oZymFXcx7PmiOIVPrU1IXgnZ/tfmYXQGsJzGOF4MP1Iz/3C6VGrUaVOiaiQc9quY7ELtGkSvSJrNDg661dl3fq/rOIbIZiiMWoX+Pfpr4Gn5Z4x8fJEX6yCkyyj8eSxWsNqw+3uOWqkUFqE5eyFyI3qnxMfrCrG9mLc7gSCREGUTC/yKgIYkxlSaJpdjy/NK8nyfQu7FAjRqDPH5uBldRChncFTpvLXj2Ki8H1Jqj//bBj+MQhyWo7CY2bFSQmvJ5bIccIhDvNsAXtpM5tBCKVgtoBWWzjTpQXSuH6/yPFPBUpz29O3EYjyk0sR0qafIFf7iWkYXM1o1vQXUb9o+FxPExFE9VfCwKxrG9znNqL9c5QyqxhNkAPDCdEtOu8Okjn2TfVrPJnZ3RUOhEq+e91XxgGobxH/fYPz2Ji8fTRUmFpOmE84DISu4MQDB5ENf8jgz8/kLLwLpZJmw23J8BMuq2Rk5MYQ7HeBO7BxDRqyBq/IQJeqDhKVEs9ePCZExqXccyPRZqqgjjz21e0C7cUmGWrsxegC7FFwDEJsRaGFW5jHFAIyRBdoJ5ELjI+aw+I9BXWkyTw8DDmzxryHJVmC1hRuQ3XvCgtGIU1ILmciaAzPmoRo2RSHCduNFYAybk+99sb/93kTyJDsDx08iji2WMbcf0syAaqp9e6DDTwx6XMSlM4P/QnKyUxA7PUoYr/j7MHNufw6dwc6KjqpbQQRNl69S86dznvqOpX/WQBlKax7pnnZgtNle+xc4sd8cclUsovipIKe2X+pFfaRN9IESLDVhfEIIrycn36UA+JwmELIE15IFKWcos13+Arr3TNrW6OG6/ENTeo8G3HuFOwdND7Utk9bK8chGe/XqtHntwzjlFi8jUEyRi5eoLVRCt81BSf7XDXG9/pNd+IE7inWg3s5XS8Ub0UCoaqnKl+Irt4P9KvMdpKQ2RgN5c+2MxEMA2Do9bOllTzrSF4LHeDaiXY1s0z4KVwpr8yfr2bkmJpZF90Db94hT3CPLW9YQoaKs+BeHY39O7UAyJ/buylQFnBMUkiZYszLHX7O4pwTFw6zbYHb2VMsIohBCs4E4h6SL022galta3RMvlJMFLMCf2TScHtyqAWrRUfICXtgpOuwU8Pp6FSP1L5lbGLE55Gbgw5PpEfTZ5Tj5PVh4dUOYRugQBpBehZ9NYCBU+Il/6ZmYW9gx6T5CCKcs0w8lcpjLJO/cROTj3B9aVPZG54Jer6H6TTYVIOI8R/lmu8KdglqOJrRSsgOaYCVAIRWAMmROPNuGqRjXt7XfgwQrDm4iqiutmDjbmrcVNshdR5qRM6LpdoQl95feOdHdgW69wB9wMKhEOmLl6GNCwc3R7ZCXMbhEC8u3YINyS3kjMSLNTFXXJK8y/KolRAtiS/nd7ZdJGr+G7vQsYlh6KQjApCdPMsNSy33RVqszqglnMl6YUoOkxGbtB2tx2oa09+LQwRooMy8bhHpbom6xuWkgzjm3JHbqY6mYyxqS048tJz95QWmm2lrlbMe2oLt3Ec7qIgQ/yCDJ7ca5yqgRoBJ/JO++nOh2jRxtU4dHQSR10OsdN7+TAaGUkoIGb+TSluVa5SmxxvIRXUbVQJmEB7ucwGTXwOCwDgsZwwo38x/7GiE4vsnKt+j4us+sm8v9OuHecVJYD8QZOJvym2bPjaRd/EzEKOVYwFqbuuYSC0+pL809dzxpa8G50tPLDQU5a/dghRQ30nDlV3dkek2Sy6aXr1Ntedqy2g1Gzizg9W+XK2B7Q/3ycCLSdLwpbrxDpK2k4tXd3nE+glhYpvNhO7/TppV9ixmK2402WJSonrMjsYUdBkvjK1XqBRkFeF57YAClRNKLXqwKbVjTTgN9m5LtOTxMfR5q4pJyOe7wV2KoawVuF41TT7js2NNI1qSL7hrwF37ezIGgwRJ0pKMEhIFYqgPUy6VUvMI/wmICNdQPo49lziKCb67eMFngGcZoomkQ7ulN1BmRBRcDNg2Q69wDborTGIy1phlh8SDhG3ct3mQD9++/OFhG0tWZ5tI2aYKSKjdi0vil5tSVk7nSHyAdSZAefhFVTdJ8lRxW2oMaJsBNZaKVSyRhN8jcgTd/YStXNhTDCJenA/yicdrC5O7v+u9KtBKx3CmVXRFZH+SRIMrddB2VNcp/iqtHpNojEmYZUDWWnWdkX6A+7pk8TUfqgQnA5Nda4NausXfFV5DfJ1cNPIVWYmWM8Bk5i/APaHoaD41VE3gRJN1CsJATzemYv6jAq3VgV64t1TafRK3wS+TvhbosIA18Pfh4VCxv24TYFWSf6yQDwXzx0EV0v06uBEIYTMh+PeUgqonDvkX6aRD5lsf20Eewxb5psx6oxQBgW7l+MyJrpC2qYPksjIP9YqQixRliYIK1VKFMwYmt4cterYsM5VspWSBbnMxM42YiMuOg+UXb8Z1Uy0+bG7+zcEEwMJLtDvuhACZwVsdMZa79y1iwBeD0L6PvwVjIC80T9CiKb9RG/cHCJC1doBbVqbDJdBi1XrLauC14jG6LTh3r2MlnyFurj9Cfw3N8fjvt/sU+6irWwJzMBid/T0ZZUpk+uaBp1sCYexYkRZBOgAzaE03dB2pBGEqR+P5sOmjRN9maVG3wxOFXz9VkV6kRFZC2oCcfhu6iLvtigf2K1QD3Pjgz/ovPd3yTCmsSdKOUpevg331Z3jrBpCTTAWfsJ5tWLL7CpzQolcr6Opw+vyHpYueyRWqcc/SKUET1AVVUXuzKZE3yOfZqROOSWKNKqcIKbmiEhAbMqs4fHjzy5sw75nuqM1bvkwFAteyZ9HDVsoLGWGrduhQolRM/7hqDnPGUM9RJTMQZgLpS3ocecM2KiE4uQ6Ag+zqdbxxznTCKNfOFsoj6TIKBIRA0fy2YyyJRbNaFOIixy9an13j6Qw0pgeBbCMJJ41YmvquW6Z3C4Wdtpnx5+/n+RGNSuGCCN5VXqY/ltbGPYeTGeCzyBegLB+ZWBFLwt/wIOrOPKI7QnVvRDQhfobSFzPqLeTcecfzoeCgtxbXYMhOimxWzhoJBNQZrLavfTnNGWko5POlwh3fSLyxPpX7Kxz5VJZwvlguumL76wtTa9qUwg+FW5m4G/oKLhr3til9bdjBPuqN/0fyHnhW/Qz2VQpxgGi/D5yE4SGmwJQVr6kIJYokn2A8RKjNL1cFRDIqOW1ODO1XsENsuc1BxleECfU9y0tpTymeKnZgspRW8HzukW3ZiVammeaUiaD9A036HW9bHByhp5HTeRR2OhxCwCkpIFHXAXIjlW1qKl+NVGyeIDxs3WRxOvklLQ+EE2b7uOlj/f7f63I1GsYzVsJeQrgA9jNFeOAqDewhexM5mlIrA/Jb/Zq+wFPHsusr/RncztlxlMQxmPxSPiGxYu7PCi+CPJ2NLbx8ewYAiYcAvVLxu2jIHwCRU+jej7HSy72yiTAnmAetnlOD8ugwY5F6JQWuO6CNvuBBdW4jivZp/y4gsTpT0uAIwqrVzsK+TLSu06R3yV+aV7ifooIMg6hP/hMC5igrXXpnmsw20dQBm6vcLsxdWdbqrQScVtuf2Vl2S44EzlsfeutH4+7QSY8TnuGok5WJUhhM85/cNd7C0jcnLHy5Pbp3FYOusg1nmcbqLF24hgQBu0lUZ8cmowyDSw5xNJxMBneSGHJK5rAImdOk9dlgw80yefpVfqpPuc5Lzq/fx9zSLuYbZGvrm0aKBGfiwTAs2lufEnZsSV+Jnbs2+cuKe4LD9J3/+wpqDbBSknkSLdQ+b0cxDdGZLn5N4ryjCC1twu9NAO7lKdMYR2E4IW/G1giO/v3Tp/GPp9Fx2c96wAjInyiQ5Uo8Qbp43Xyl1F+oprEsrUz3+TINJQwoGiAgQeDbM44cgaVCH3mu8rs3ccU8SQ91B5KC3KVAVcj/AHZV3xJLSz8HHb72Qva6mn9Ko0whq8edo9Mbc9R2KY7rMyi2LjDRvJYbsyhwlmHDsZkQEgPTxyNdwW3CBsaabUvHUE96M/tOg+XvbdINawSQlqT9T51vdjMim6yjFauTN3zyLVz2o2VRK7XgThd5EAsNlS7bXo0MlmWv3paf1kpX+Jkal/bBrm9oewbugQBxG7kauLcHw+nAjiLw6IJBs7B3mvdxcB8Df3OInQenSypHunWo/kZZ4At4uLVmi6oWcvZfQQeCS2umLx5SMUODcmM0g8xdK8TEmz6vIipmmU0vG++bL2YDSeuXKUUh7JmOai9f2lnHpivC+Cjl5eLmmXsxx+Tr9+XLM+AXlsgGxtE8aGKy6sU/6QozM5TnJPD8shvqQiJV2UHvM5bRfCQfMDZ6pYKPnSBsjjcazBfPA79UHTV5MiagEPA0rweiKajw6UdbeCRPhifNdu12rN2aGZ8Fwx3/nHkfBGIMZAlgC51miz+riBamsptgUa7JxbhKUEpw7/ojergoCsbrSD9l3EGmtlILfbvU3WfC0w4Ccft0kLgUUkmLpteZXPFX7ElzbGt4IfD++4k1xPRepyJ6U229U9soresT6l5kwsXDixiPpUcTi4fMR18AApuF72hyWlEA6nkC+q+kwc5VANFORTLaTu+IIj8yB5fRVxCazPRFx1BCqDdl4C/3/TwkSX4cGsE7zVaaInBuD2nDUoITWcyZpcE0HblHUFZ4GLjDnnfU9qCbzqZPFWdcKal/GwNoYgVQv4GcwMel+5nGJrUpXW7qOC0fKjDCdUb7I5MI0Rss1O4BRP0YaJAQwpd0qk5bEPbPs3lFMJ62bPty6vc0RYcepRr6661gTwXSlpRnudn+G/ypAmpt38Xy7hEhsxXSqTaYG3k0Ymhp7j89R31m5fK0ZvO+JRYIz520U5ZOmJAvCskAKIay8O2llaMLalaphnK1Q5pLS8paKpDQ42zGNp12PUx1zVv9/JrCB/KZkGV4Z/du+4ceAHHAQ7DtI1RtVVmbxS/O40lvxrx4jqG893iXJsdmJKoxIPFf4XIYRFqq/WjTYDozaY//cB034SWHRFClbW9wLBE8rgqyPI0u9bm1M2aXkReForj2mvm1Ib6N68Ar3h8Rj86CCYUNZa/KgwlaTg+b2Ab6FqAlFthC6t2U6wYtVovLjgZiGMKb3aOmcrDC185XzlBvxUCiA/No/uUoJ3yK+HQ+Rul+pynwhYVPu56mLY7Z6A6VUC9hqEldNn9igQ/6+RXZp3FnfMMYAEJIlty44T1yQ350X1cEihAjxeAl5dbvIo23wMvJkc66/4scnq8o+KMYDDn2EfKJRlNfs9gGSA9s/xhpZLvEYRuQBsFPxsecQwVk0yCbOHLZh/cpazuzQRmTKIKANELZy35OQVevhiwFs9R9UnFnuAc2w22ie7hdTPoLJlVrP8b4wISVbGDuWRJejxIz6QBPfWQ+y+uX/dATmp2dfNFXQ1Ovm4VHUr3Jy3q+aWpnDAml0gsIMTHIvmG+6gl3eNjjfnpchDK1qlntZDoRdaVkMIqQYCgyuFO2/GNq0UDrHXfVh6TSpdaP5QWqXPEv+XqHvbHF4TbRsekTNUBbhwYZbQe8XIlyIVP0EzJI6bFyHVZyMgKTlaMQy9cIAYVqPnRNeSfjqH+nwO1rNKEHZH2egKRRRS1o2VQ7TRLCIIrbkcUcinkOHeAjiD8jEhHDWwwi8SGfoeF7p7CSEZKxRYfs987FxeoLoOzF99nYyXXwq7tn5uT9UHY18d5jKK4f+2Ansv3I39/t5XR2Qwwq+UTnVWdbCTgkg5Y/rWRz+97AYQvMAyJ4b0jjejVheslxqM7Pw0Ya7TIUxu3K93v4LDY17b9KlXiSJZDVyUHEmkoiP02iKWEx+CkreMuiudR/f3AMjCKus62mo5PQ8aXLIsAdmcJPTXDsjXEi1pSRHjb6+U12abCwfbuNHIwGP+EZkFn+eoT88n7rzZI4Mww0P6jQdxoVwFm4wLnpSpn9O+jlpR8hKd2H1xdcf0F2Bfa5GnwJnty2aHSORNql6ORDfGt4103vPNj4kgM3+gV+QG6e/MwMMDHEPTPL+/d4MGFjazIwllBk/olWa1jzr5Fsx51beGbVpFHffxhHrQTGJ1LGUIKSUOa/bE8uO4YzZDA5rZbW3ZU284iT0P4Km4CzTfAAJ6U+FJmvKDKpl51FlxgRdY9sSVQ6prXWaNrMtHMBU4vgu44F8nLRJA7ykIrp67QZSFUSVGimtYcl9GYpEeALg1dVnqBGWACoo/CgYqVIr3O69033fe2QGB7jzONTFJBL14UUWNRo9dGJY/EEwYTHT3IMJ0zrfrZD0A7lE2Kzd9oZyRhKfrTs5m6UFnFzkTOPkXWhIHwOzCeDeLumFATA7xSScOaZTGHIyC1XiRKzNJgZZ3EnzW0jwfcNSBzXQ+z2tey8Y/6S6DXULlveRtd2K4chVoqNWXwzCAbV9980E8KWDsvzFrH0qh9eDydJz5oJJIyIm8hCyBoRLQzA1PWseI5zXZND+FzFIL48EU1YVlt/OJIjtLLoQJyXXW0BgvwfGIO4rU88Uk52ni9YAdXGNl3O0DjL//LjqH8VtauAdu4lUMdEYod6R/9GrkhlKHFU+j4lO0ZwsvPkcgKxbQXsMPlj00kwiLFo2MwvO793YmsnfE8Fd41hta6hF8ThgFJWChehyM6O2s03OkgrxPgxwMLNwehlP3oAsHGmKbaVkYi9vD94/yv8V/V6fMjEiY9cRFhWM0mMEpq+QYUF4BQO+LNBcY/db9e2c0o5K4sOGvZFlu7j+WrDJYv17N+PZw1izGMRxhHYjKz+yf1KMSrGQcQ1zdIskkraMUiXs6e9temVGJ/esUKL1RJ6pTvbMgtx75gNreIhcEg+hX02SeEu2HB966pA1PcB0cZkqANdciwUZ9srGgVPqVuxRgYNqomeeOaEsYQ0YbwYRNI/jO2wDSUxcwYObmDT2DbA2std4MunBXZF+Dc6MYROmluxwagpfeJ8ZBHw4XbbaVhD/XiZlBEvx+5rtvsjSEHtua8Ye5jhkraOnpuG5bhkGVdJrJd2oCgT3vu20G+3YuBw3AEJ8KbrCeunuufAih17UKUD32DcYiGG0vgWIQDRkjwhbLSeXuz7RzAoWH3bS0pyPO1B+UFBNcaOmAUc1KaSrzSpTtt04Hjj3Cooku3QuNO4Kb/auUIKd/IbNcY2Ge16ndTTBZH69+74nJ0HgpIFcexSi+UHWJz40rZfiXMLyPBu1vZaLA2xScG3wHnbCYAfYGT4PdQ/ReP+szzrlVDwRQoqylOOIBzfwb/fnQ/5Mhimy9K/w7jZn0rDIGocYXCS84nQ0iwnQq+69vWWVldYy4mcFZG9Q+wzOAucFAgoH0iBOfxFubYLiIhGRF0EYEWDBa/azecykJzKfHHccsGKpY2558jNY5qTdrvjpMrzASkwqXpZ0wEVE4N+4vDcjV8H0AefX7ztnDC2BH31t8u7b9/jym2r8h7JK21qnEY9fq1oh8C8yO5vkEX8Ao2bWEXuXnYvkznP1b6kfsVXXM5XmJ3W/qq4KkwEQMxcYLw+5rQxX42lSKE2C6eRN4fYJIuJ/1gX4Ic/llKo1KDVwjX9okfqTTlAMEhfsCvJZO8Or48fafZJyKgd5VIakR9XGVWznloXat8XdG0vD8sRqvPPmvEsHFZfA8Mh9azc6XRE3/ofKHSvy4l7FhlSSh7+JdNSbyzbdersodSzjDxHid93znJULRkq0PxGXAGBeXMJ1atp/o8gfNMPeFgXG1ptd+LmEGCzz6EckvWuJVaN466HHNZnt67jNtUSbcUQGCVR5xwkTyqqqWOpnzkkjsQL4q604cicXOq+kzaWRi+Ce5sWMG9GjgD7nla1H2R0d94e/PKsi7r035Urw1qafx0PDobSsL+68fiksoQ0gTGNV2MHXHpkSbVfJL7m5oJQ7NJtT2NC7nsyH71pXGnpX6rMFU+Xn2o/839wLyILVKcGlGfxRHZliqxqeV9g3AQenqPopnaxxM6Mj5/eIh3IbtcGdsTvteMAq3CR/LGBJKSIfyR5VxNR3c90kFvWPqKb6JFvw00hKoPGOJaXMET4pYbOWh1DvzZaFh1V5HmkPjreIsG8vUd9ZSv7nkUHnNIzeNydyIcGqbtAtYC2e8MSE+SQ6VwMhz50abRiarmxxmQhBJcN6qaZH9+eeoigxPX5iGGrWeuRo89MNOlhYDAV9hXTTIe0w2MipYdEfrgq8Gfa8jhMgp8tO423/PBNKG9QDB8SGyZDhC6vg/sGKnQZrNrzAB9eWvZtnd6VttLZcarx5yl6IoE7RwIIoYk+MBEPa3USIdC2OORmVTxD+Z9byj9wk8IClqhvSLlNFFfBRTLSsMJliBh22hFEVr3e5hmjT3KiEVB37fBXt5RQjj2PhQK0fmIeocpTlkGn0rt5X/yLW+imUWHHkqM+0OTJzc+OJy1iYY22TJIDpT3Z9R8aBkL17eacNUtOLmNQmGUuVvnXQHyLBRYgE7a8BngHE3bM+DdRMhpuiJfT1eiRL1aTDMKJhJNtZNSbYzYPckenGOg6c6Hr+t4THg2t+VA5HG0QsFrvXde3I0xV5snN+Q3kz9FdXzUSDyR7mjLh6laJcP0rAozL9iBHK3X+xddsmIuNOTWiAoIOs5DSpA5hLAnArWckXvu6ORG9uHWzcJVNHuQTdepEcOtvwey7z5hD5sRHAT8iLmvoqd4h7r+V+m6Wf3Ojq8+BeXCxWgujEgbuvMzW9LwEcg25lGmMbcA9MtVTD14TQIU48W7clOhAWkMo0SNQJoBBtYVQxB2EeCN3hT/IBSrWpcMn+J08dahPteiyB0LUKI72Kb5tD7MA6GZ1nG6AQG7rWYQoDx2QcotD++UZJF1ITz0Dm5I9SZY1hoaNUaqhl94//u7NHx5YaJe4aWnggct9Ikujj7503i3pNcVPkNZab6MF+OnFvwasNKPImZHUWXEvjiQ1p3lTDIZhjEloSvby2gkaPVqd4dc0hbLy3knuYKMCYfNAAXjJ/ds5O8A+9WmLYEtv+G6RYKvH4bjUeM/fYkHQGfMIiaQBSdbb3HBTJqIZKfI652iMX5GpYSB1ABQrc11DRP8JwEqhkJ3Mr7S62ZVQJlmW/1Sa9jy8EQv7s0ZfjMfi/Oe/H8GzMubbpBi9R7F96/8o9r0ZzSi/z9SpHqw76R9pexSGpRzmiMiCAzoytRW3drv0eOZgnlw6yO0YFL1K8jd6nMduPrxYoOSE7hRt0Uowz9IxMxNqPc8zbCJS5WTeGO7e4WvnhNNHnCLgJ493mccH0NKtocGmlUp045xzkCmwTCfjbdk777rMoLM30qOWOr8kQU+PKacy+1lHWjm7fbkENjXY42OuQ09G8mIr1s4PKQRMb9b7fSATsctpiIiwZ0toFm6aDVm07PYI7e22L6qeW8ocO9H95RCftzPooEeZHFFd4BwzXs6CEmlrr9Cuubb82WfSpzdA1ID22G0ZiE/8jhV0HlAYCjUAz9Ut0jA2MpGyUqw4MOpbQzcR7hzNQyGuX/FvQvMgrfYP43TOsLEwXSJg7kY7TUqFqn4K7GCWDFKqAVDJSiETe9fjaipC/TtAmWoeEwWDkyXbiCK0cXajICr1j1UHcDOeCck1PSTP4eIjut7JuRF2cIdFJtHif2pSA3hpmY4zQ22SCTv3TVv7spjSZLYZb//dHvKcW9CettO3Z4XzztYgBTQE3Pom4Yz8wS8hgajQiYHTgvRkKrRRgnMz8Oobl57gFIlFr4hRP5oSCVSlD/eeHovebVfj5+0AxwqHbnvGBrqFX/3WZZ7ijkMknZpN+Ta+ejEu2RuWAiAAIM5K6AR9P0WbXF2Pe0/7+uOANWtrUD/SIj1bMDsxfSWxg6a8MJcx4tu5BvbF7mOLY88MefzezO2SuV0s6lid9goAcmtAOdZ8REvqdBVKvYo4oE1K//spKldaXXD+9Z9M8k8iI5FpLdWIgxZb8cZ12WKd7iqVSbFiAGtHaJ3zf7TRJXu3urfIZxdf+buB4rb7Yio3mAl7utGS0IrF1XWigmvta7xq+Aai9EutY7sYnIke0Ju1TWjorA1p/z5G4A6Kgu71pVHwcucWoyvAnPMl3h9ciggRSVqrfsNuD0YZyhycBL+69gOYaqVqKLuzXyYCwZnNG+H0pwjmlTQLAK9R/nuruSPNAvl5senPzyjLB1xwehkqTWVYYAyg5e99We3KM5Evnx+ckEeRj5iDU3Zn1mSLFLGBY7tBLwd+KYIllyGKacLx5JaLhYFtVQb3mHWE20JnKorHRAZVHtv6qzzYKxXURM9l18+dUckbV89mHyfyY67mZV5KbKH7qvFmW+7CY5SfM7sO3Fdi0WgD4BZPcq+/Eq9TaJN8/Y1Dh0Cz2Qux83wBj+VQFQN2HosriTY1Q3VYhnlnpXddDURQU5p7y/uEdcucwh0D3s5qfJeiyv0RjsG5QB8j4qsSl5Vyp6Lq2lL09wzNmNLh85oloj+fWNDt8BeIEcZtpH618g2u0jN3Mkn5C43+2fs0EwSTpCit8xZtTIm1dITk8No/6gJDu2/GSdqIRKpSvrZZoNWtYsyF9S9657n9cfpm+qIMXZIS8Fik/IPFR4Tz3nAYr1tlwpYAwezwICiVWaFulrEOeQhHbK6szDAKc4bkRT8i6hsbfn9HLGJgyLIKSlu+FKEVqugQToXRnrnhRDogBI5nRwE1pgGepmF4L/W5eE1CuhJo8EOAh5hkcLQtzfb1aIFuVK4NPAIkXkV6gyhVJkZo/72q3XZedZJj2yS54LRiSJ8GqFptPQxIDZedexcuGmszTLvf+fV758NV4BdjFepv6lr58iPFn8f23Clfxu8Ka39PxDkNeN+uNhIhzFdBcs2Q2UewTO3EMDG5Nt8444xMhn2SmO77yNU0zCFZ7OkdzrewfqCorbwAclZpA5x6XjcWHJMapl/dj8/ZpqA1i0faAiLZuNH7d64NxFtwElwQvepkkDkcQGicKwDeP6rfiVXKvhCjFOPi/OikMoUfXvkSwmUvvnPS9szkPsrk4kO+JLx0oy6xMn7avYGrMNL6wMryg/dwV0XfY86x+p5CNojQTxpzi27sh4zr3B9rOk+1dKi9lTWIxOGXTOy0ReuIKH7jimzFTtInOy7KlG/EM4OJUjPkMEvJukmG+KtDSOAoW3YTkmBHGgDQyu5jogJItq4vOUs6UmDhWKMeCNpOi25v9W9r1lVm92y2lX98AL6asOKJX+XU2CAML83OZZmEG2A2TqLBpj8K63G7br5WisPMJmTTytufAu6xYCQV0d3ZFNYOHuugZFKmu8xfTh5zE3VJ0yhbFs/nbFWH5GY2yTZPFIdD+8LQ4Rb8jRhNfXx+MIMU7DabHSZ4isLkF7eiK2YDvOlLkNggr9ecAcvIRxGWE7MBooGyDhlXv7nlPoH2S5qE7r/89sNcoMqjOrPy+QARgn+LjxOOSF3mU9ZzqlSmSLYWDBJiu1BnjQB547hRparfsAs8cJR0Fb9YueYPIauUxk2SLQb37LjmjloU76nFvV/ICW0KALO+G81Fq4rXEoJBMmH1wpq5IYNMitxjuFlu22znlamvNoGNegLVQMqPjMDqB5T7tRgIXcatEHIhrjUEoE4WKRZYB9T2SRlyWlJm9K/nYL6KyXtvUwd+0xJQ/LnQDmJX8W+rr3dhG03FSMczCvD1UBehr2rjuz1Ci/kv+wg+HT5pcDMn9rfaxwFqF/kn1onIHx0A6ILObLeHUqZ4U/ZAMsfe+QgAFGQg8dqfpPxAa8fTVYKm4DVXNOsi0MvNJy1nQmnIQJNrdHROCu5Kv4PE2qSSNYaQSessT+GrzR1Po+/ZEmDCCEk6GM54zH1xcJaokAbw0FRdMB0NgutuxbHA9twqm/MGIBp/njvZyj4qIKINKmI/0/UFqQKafQI2/n1AoFgBCmhg1MmEYUsUVKfy2+9u0Sk1aOS1+1kHqfSNs5aHw3Qg4dNk6wqACLlaLKkbXi4FdZhO4XMmaNi2jRnVLjYhnh9EuXEsf+vV8OtiB+OHVt4B/gHqmvguphYWgq3IP4a6TB8CGWQUsry4qCxHjLJrUP57ozR7/5RMg+znCOwUTUt4uFSxWx4YUHaTpGT+IhRm3mdAUpcTLZzgiDcKVENkPqNjLVa5QmonmiXhMI7AG8bhikb0Z/esRcw7NS6aouqFeb6LLkqmlec8iVp0I7HRt6OalMvTAcu2zKezAXr+P/CQlhL97/VsQUf/SvBW5N8z3E+3TSEa3BIYMWvfNc6apWYKXaMp5iOsWP6PumKTCkEsD6obPle51/lKuaWSwRcZFdPKncQVqQIdQBlO5p6Wju1yddn8zxlKUHkSE0CgOzSh84T3Ll0tyuC9rG7l69PtYbp0irpZ6SmkOQx8r8rEomQqB+VjzvMhbPhTP5Pvr8MjCZSTloIFLs8VKP0GtE0HAV27xq/kbQzj24XyzEjbgy/dCuj544bY8NZDAs5/xVZx1iWkhkhTYEMb6P32PiXUBaUIUlWy4YnqYInk862lQP0YO00QBEJNqozyl3c+QrHkCIPUDUdd5KfU7PuGTAAVuYWx90ZwO5uQ7a0TPLyBt6hm5/1fPCips09BBN4EUS/h3zAxLZbzTugaW9fVNGvFljD4iMm0kmXTg/1m0gOXynfbo8rIF+yWr/XQi9tmpnHoSDX7+JSaRalgxzp+Th/lIL7WbLkBEDO/QIZKoKnglgc4qSUOmc+PSRxeECrAL8J067ME2oTClCZFWT1x03hT+8EAUE3+lUWiP4goLw09E5MUURpA6/nkeGzs55h2HQ1x3siFxeCWm88d8jL0gJHnZq7pCxH9yWGayLKZjJ1Gt99Sz7gEySqxESpKNLM3DSarsIEZ8tb8DxwI0qoUP1f5sHX18myOQB4Y2FzSR4CefUvnPTXRDDXilrw6HdYQO2jj0CPNS3z/CMUOTvH1hvYHw0OjsrcgfMhwH2DP7kpsqJwcUjHCXi3NPYgE0lPWehNUrsuXy3sAoTDg+pDQjo6PCXgXgZSoMlUxJMQncBm8ZyQz/ep8vqS8BGqYkqNw3mbnuDQIBvQ9o481d0EVfbvXfolPjOI3j6qU63MjAzNr6fTWW/80Nbl4SES4ySZbn9IAlvyvpJzg1Jx0+glGWjwxpL5cX4jZcd4NBqeLprsEtZNb1kQrsCagnrBf4L0vWnmZrZHf77jmeEL3ssegilY9j3ftABrxF6/FqxzGBR3m1/kk5C5ITRtbUXTqM+HcG51kRP/ivC1s5W80p6Fc+dkx+wY1ew3IRMQqWeo89ORW9yX0a5hpyev6iMa/Wv6UFEtAND5yupXi78pVXBPMs3M5oE6eUdHHbCuHM+sUijDm6WmmdxBP+eEF/5xaiQgKdXk/eTYeI9GU212l3aJAYRxpZ5JjEc0tqOmvaaaUZrRebvGcjFCl/kk+wOJ/27IeZnV9TEKX0ch5BasLrcyUQJXrOZAfTsEmem778QgsMLNinQIgZUiDpcNUIDfdt5vTJUpJbtPV6BrdmTNwxOTk1uwMm7xaRcARqzj3UkSN0HPrWR5uzD4Z+gs4Gzzq9PXQ1Irv/ZVNN6O4VBDGiwD3U9QsDPlXzdLlyyamKOHuIIo7+XKiQ/NVNgLegbUhhXU1VfXYmBoyWzpPepWfjQw129Vhjk9MpGBPpfB1W+Rb3YGO66rP3GVsMhZX1IQS+r424R1eOm1280BUj8ns+6CkkDIxEwhpDT8ppf9daQEiAkfgqX31DydkOAjVxVBr4WbXgkEw79FdtE6wR8KYqgrbSfgXC/SRiTErmQgT6VmCdAUaDxoK6tvSCUoX6e0593z9H/9GQbddXD/Z4oBhVcXxbD4FXDPWFyVtCmXmTPzVc71AJ/0MealinLtX4VNtwEo1bvmQAW4woF7CggbEULZxrQIdHc2AI/fkVG/qBIyV5Y74oijm/E9iJDXX6PoWchMubXvSitSEJciliM0BYOMCUY95E5ZN6COd+nnItxYVqVGakE9YN8RauJDfjUlDa3Fa5TUKEOXv0Gye+eQ2Jyn2gf3aN9p1gSMMr6jIQ+LycdefetPkNYlOE48RIj+TDR0EcFIECjxua8+JShirxl/MjEsNfh6nEFtd2CraPNUXrmuk7hr8VtGndEK6ikCiBp96m9j6omyZEAJKItGP46EokYYXH0oZ9VdE278Krxqrij/PtrOe6YeSxVFDygkG6Iv9v+5Vdrltqo/mUcv60R09svZaLeui1d+TkVVTwLCG0zAoDo5Rh+xCC/4a20SwHw5pjvCbUMhS5lNv5EMrTwgSTjU7UrTFq0f6kNtKT68nlJrpnQ3eyLimB3Vq4rjNET1K8v9CRKsZeLriQq8d1sPB8+B/PWDH31vmWAovqJWkFmVXklP+dPrEh1g+Avv0CAlhDxv5tO2WZJha7/j4oJr/snyBmK6zJEPPrZ9bxpbt0OVEzcmLM4S920XlBaDaZgEqeDzCMpYmHQC6zJ2afK3jqEPmtzmJykSRqT50qPWvy7WoX7Dqb0x3IZ1jzen6rY1wslPm9uPyxLEKJi2C4bcSa4BaVqlUP+03WnlLuLVXSyTAxWRP6m4HU3pksKrvLJAP+LhdJra2xa7jrr4fShWLK2piY2Or09Kq19Z0iVRwPBMCKS8NrjTPSGs71ceNDS9bS89EJ/8uPiV2AHzl87JeXlZXR0qTE1H4Gd5dg85zLgT4gU3YiQCFPeRSe3zsNdvW+jI9wJjrm7HEutAuVIXP0xTBP9JL7lLAfbY7f1qJ56SMM62gSS5Ko+z6e98jpGohK3fvti05Sbtw+NwYGqGLQAJvSmC+8jo0pdQ5d/ZpVPbMXz+RtK1+PSUU4LM60HoQSqhClY4NQIX92H7i4pFMfxxHuEqfHg9eavhwChtdu4gyqYFQ/xFUpElrhBtQr6yGTG5nyood5fL6HqWl25jPSSoNYuJL1c6WeGJ/5R2dgsA7ew6ByZOwrQ+nfZ8sLz8pqFlS1gHntD9NOf56xJw6EXNd5L1iRXf9itA82KmWUI51ciY0woEwMNHHXdc/nNOSVBHqzZr6fZOH0qe43GEG5q7ZDkpigEj0qEdsu+z33rRqWizBNex6krP7Ow8kFql8avSENsXKV4Zj3CsHkdVCNOAGb4XF3vWjmyxhyJFEgRF+d3iBmj+bpqDasL/FsU5Eb/czF1nMGkH9XbBslfXATmRYAw+VP3rVQ1Icz4kEtkujZCJb8cvryAYyxnv6xT9I9R6ejNumHyzxA1yuJTkF1NEQeFSl8m06/+yDyXzc8CqJuGz4ufYrX8nlvDDsX/yU4QEonqJO/h/1dp4RCWPXFBqQkcTsIvrkfGhrwbEEVVAPyzMWuSGTkUjQ58VLvgvBQoG7UIwrcP9bwbqSE8G7TjCh2VVzjUgbS+LQk8PA0wvRf9GvcZ0dstr+idq4NrkSaq8yGwsFauQtsFZ/DdcAC9gCAsUdBfEzDFlqvU8GLJnJu5jeAy/gKG1wDJOsTIuqzO40BD48xg3DEJE8P4SbQMilyTfbxBivuJqoSYH4JmHs30JvX7bC2Rah0Dp6wjKovRbZ2NS0Uega2mqb+wasvbsm+gdIWPGHFoszu/o0OWRIKSJRglYoEWxtlPhaJTgPCliCqFcRj9HGjd27Z/UE2z3F8tov4uiMacdLg+0FO19vxXBjhhwzBzz3qAUhCGNiLXgbtR8E1ERRjI5cLvCF0WXBRDpxGq0P1AtjD+SY1tm/NlMtmGd/RrpF298R9jWxCJRVu6cewez1xJmRv1Io/LkQH4mNMFZ9QvpMvTV7zf9+wxNDmnCWQTr+X/lGml61DHpq/oHn6O8Ufz3iaNjiiNbtvt3HIyZv2IVvC+X59QTDyGiBDosrgjnCrgpdtDUDVpwBKIZ2ed65/qYpUeDdLu6z5v93wEklM2E6r5uix2nR8tagUlkXZC3128yDKkc3NfJCADGO1LFcYdFjXIR1jNqhxKI/tSw7u1kuS9Fo4rm8lqf9uRBHmBDFbKRVJgV9Bcw/faipY4ptcf5B4F6RMS3YCtYzSC3vCwiRRLukpsZpyya9p74JFmvHad7aibXo6EEe+tQm7n0kxVRat12ouzwDtMRv9f+aNXp1Hs/Ir+lWf7od3/aoWB13/z+RFF5tzWicL7mo2eA+PSTjNDl0RPX6gh0rBygULK1JEhlQuOe905cyL/79XlV+El56UkI8N62UPKdIO9OkfJXGriW2DtcBtPexIn928VwkirzMpi970NmtpFwUvKYNHj3/PMaDq78zthPcnIuZ0x9DyoH9mcsHougkBlVNWHfQR6ZTtRqZaJltIVk+mjZORONe9sszvXDTcsdpdj28r1xr7cAUIgwnIa1AycUqHB4W+byZqcJRL3cADjuZc5ROUVwJJ9Qe+gIZwYjVxgBtdhcqtg41h3vepH35pC56a1MOPln8HncMjBiCTkE8AzZneWkBaNw5biG0eYGZpJGh39P1JwfhtLTpmZB8USQbulQYpqYj5fg6rhFO4kGTxo502/9mumxD/uH2HuHVKfeHmIVtSlhI6AFY2IV5JlrpcM2j5kDu1+kdi/BgfapGiIKwO3u7kwztu48986DMc0fSAZyk59pH9xz7VBr+pQskf5i14h+ObZ/pUWdpSnlR4O263e96FWLmLfmdMZWzGzXRr+3qAKLgi8UWc+7T8pVzZvFLDtUMZmmYJQrNjgkHa7RBh16dE0FJ34NGni0krNYemL4jMLg/3QH1nVOut/xjBnHm2f5SOEJG18jrGL4fe3e73/kk/efC1ErveQLzjusVIozEIyad+M5fwQRdDRNcOmCCw4hz/0cgkcItNGlzCALznZAoFnq9N8GBM8XLpFa14U+GfvAp8nSaAmlbd8e7nhFF0gBl6iTufKFaINN7e44yM5DhwAMxDdCj8GUb44srwDxs/sC9ttuQYhDU2yeS2MidkSVY1dI/+3Rq0Qlg422weDAUTWGwpBOCWGHZC8NJbFi8YGR/7Od69tpiPcrgO13sQ7vbyT1IwhZrednIIEJhCD0drG+aSsaDNTRTBUF2dFssFH8xLm/x7LdUkbukl+CKPgideY2V/OPyY7DrR7YwQIBwud0cOeXzEu7oQ2i0L3P8Z55+VxVKI3927NvU/ckxgbrCQTyZ+aHneLEjGbPolJXXauVYcdsxYM7kxGmRnCQzfuRAB61XY5dSrF4R4hgjlZ9IOR0yttcaFsfjFQCxm1fvAgjgijTgffC62KQwXYE9V/8DPMi7+tmt7wfFM5tffPKdus1qiDYWvU9egsSGVojKzDiS/cQzjjSYEsK1sdWnfmNXBeCQotln/qznU6/oJ/7T3dmj0QJ5N+rKZ8FIgdPMwXKyNxnql9kww531sFD7mxhh1T2zqmPQuqstf4qOv86sa0M/atlpM67s3oOVvJLJM5ASS4fDJMpG8WmjefsKzvlNQV+rcoQXUzu6Fv0/+1LFfw+kZHiCQD52keie5vums/+gvma9GEyJ98K+5wE2E0D9XUir/kKlQyeOwhtClsxs79rrvlYENqpv26hQa9sK+vA+MtK3KtYzl+caVzhJKQtYb4Y+nfVPH/Igkyb83LMSLMOod3/hbQjbR7JBfE+wAfIezGugIhPQ4Sdq5BfPddpnl8tajkEVfM6REX3oIAt2O/HrAz7bzAxM6Ux1p6ZkMRFOMF3EzHS6jq7IKtIkjn0ZTFuQVPN0NnrDo+v6OVtRzQZYiLxFY05F6fCVH9HJIpHsg1/qS+sqYIya28jgUyiI3MwR2W7C7gLMztmVkIbln9gq19ZaB6EPdff6FPpuyGJm6AmY8h6soclCq3GYZSIpsd72s12QAuZDN6+JKEHJe5A49zwCUXggXrMHzIrA7Gl30h0T75PUAWewCn5gOXnU7PiV5DTfnWIRMojjc0Is4s4AB5UFNlvH1G/6+J64JrX4f/yxyzu0thhPovc1s0ZhBSRlY1FxGnjYoquICxKYoJPTayPWS4pW7OJwfq0wTW4+4rIfk8Nz1QvdH37rK2XGfJgv/M6DPFRvlmxVFm1mvTxrZzEXSQ1xX++R6rj770whloEpns+af9Uei4y3lsAGo0C6qQI44t/VMMiKqQa53oN3rMj8zabxbZ6aLZpQqEV8fjyPi7YdPJXzjzFG556u5Xrn/pi5JwytIEqh9MV8pssR+2aVHMOtq3mI35oTkZB+749rgbTNHRq0QqIIZ78T6Vn0QFyeXVPHDjGmI3WACKfRwXTvM7iYNSVY4stzEYStpkKx7cDp029iU/lZ/0BKSq6h9L7dpzmcj3YbqE0eb/YlD+iIuN4xLDt3n3nk92Kw04KZUnq+IQUVQU+t/yWOd+HQvUZmY3mMDhlr2XQn/CjKc37XkLdtHQYc9HOd1X65n4loEm0jPjgwoiQpqauzy03Xx9GLYjo/PDbwPWje7IRQCm1KXYoYvgGJvbkKJyGsRiOBG8xjgACej+YjOP4nwHWzh72tot8BEWxMguhuSHS3sbrmTb56rpfn6yw1OmZ+sht0qd9jHgGyscf4SNMPjCcFqAGpAGbhAExBK9qoRRzZ0hU9GZnoLTNtRP8+5Iz1uyeDTMWc7hv4rIMWJlwREKgHBUEp8U50dAAQqQpbk0akYV2N+syFsghVWNb+EejzxqDWYXktijz7IRwzwq8jWRl5b28ioLgYd5koO7cnpaZHfFO04x3XDpn94r5c+oB2b+vpTcshU+14UwRcI78PyusGTnCBQGx58qP0STKp+mP/+K1t0SMU3QlL4MZW9cLYboPUa9rXCM8+I6npLQWJbIy3kibzr5MAepeuIuYEol3Z+Y/yupjCy+MO5JtCP3b/zd0xrnh9bSU4gwLxvKN08YEwXBpFwLfDhci0S+9Ip/+TcBfHwK4h6f+VA3QlRvis1oxoWYNNqRPyfXe8a80Tj1aT3Q1gxSBM0d9Le7rGj42ZB3zUQCdR2RTe1n2rXOYGEnVGjpHu/Q9MOyjepWJ/N9pP2Xi3whb9eDhf2P0E+4DsIHol1vlVEB1JyJ6wi6CZjZlHeNhRdbqOBrfs0n6J8RMSf3VQFlJx2jPXDEzsD2ZhjF6JIvp4m5k47sf4g4i+xgk/Wj0x4LrXUl8PaXL1D7UsM2kMHvZBvNAe/+VRAJl4VbhThI6eygy8J8/2RmaAY9jMpnSfa5AiwUsZJ50VgNbGApbUL18A0AmF8yEnH6zI+SVfsIyko8juNkqdr//BZnTLJaUvkEJrq/Qf7RYbccq8a3F/Y3nauAUNlONNQmFe0eL7CvNgybMKl0HGuKyhP2USKNL1YjsR0r1R0Hq/CUBizLYyc4TyT/uRoEhFQ/vQ61Cf6oWrJOX+8Z48vY0eY3UmTkPiDBrvfbJjlAPfE3mcS+MEnY22MBnpkMjMg9yy4m4ae/uvXYv3eps+Nf2uyI2h/RWeTXJzUA9dLdZsdZ2bs6UOiOfw/zXhag9XkS3aGKICMTI9NN4NPi3AAa92S7wMceMgjaTNGbCb3Z2QPhI1LsTjHFfRnxC6iwTlN2XsDJQmfkJEx3yOBNV2YrXO5elhNh1cSp9CQZz24XENZdmJ0zue6wNqOt90+dvCdlSgUxd6xNkAP6C9+o+1xMj7UQJEr1tgn3MmqjY6zcBjj7g27omJGOovJMGEeeKvqFf8ilnRqFQtDdnqEJ0B3NAHjOwm7WkyLLv+KWwxPK4nifSbsd73ZNAXwPkFr7mBJtfiBtN1VQ9GAZiBBlBHUNfa2jPWwyeAbJ9xaF9IDswvOFE+lKYIQnaI+0UKFJN1WFcUFOnqcFST+rYIOzvFmHKJRzIuh2/QiJakcWsDfkAXfMPYlLK34oJLjWKY8aPoKIiyA/0jSMBRs9XQFee5eE+dvr2TwONhkAOt/grA0vktyg7Twg+qXeZaBJklOgIh/cDztYs3ZNsUpihMw4JUKo7wbEHvTfPzoUUEmPFWA/FZD4TVSqiMMDaPqdowG9AdYKDI8A56jerx9VYRtRfEtIcACTb1imhTbEwKoDfMWT2aoc8e2C7ZCKgVQpd25kHEDcqQnHSSo9mFDFvkC0Ef4W3THxkeMDzhGnzpDe3chMdTzU9AedYLCuG5zj4X1NMg+V+OaRQF6cBqFVzKnk8bvrPt8zFDFBHyXChfwmvdeDmAHZtd7luueoFiOpFIT40Dwf3YGxc3wTp+KNMDdkh0uv4xVuOKDjRskJKIDnsyOndqs+Gn1Usif2uRkimEmLyPnvAYLqh29UHc2D9Rw36mHWAapPW5SluqPvbpTHIkcHbKJ5oW0WJq3y9g/ST9qc5PJI3naT+uj8R4bly4gP2qP7v2nxlEWAMxkdI89HGwyjS1YqvqdCuKhS8JGmFwEzFD7MUOLg6N0QD9SmU4CEGWgBp1unm+7b6Gxvi8Tc0YAUYHRWxcOHQqiPX7/Bxgllj2IOcmm3ep6KglB0OlO757TsG9IihTqneclQnC5dPf5Bi+4nlTcOMJ/QrgI1NoQ4JLvNg1ZfRBmKZpssq958U8GYLAF352DfHXLVGy+Cyyj/dwtK4QqUtMe+qNwsbTMaDZ5/W6VRZn+rYyUa9beHPOWRtq1qBMmOJ8vDO0YSRVX1jq2kEMoGpsWW2uN0TDZF/Sd9VM+ffFKyUVHfy6owocw9zeVlFD9JbFztDSBaZoWR2xaZErFbZVUifhZkW9d5eQeA8sY+xPHsX6mVpQPaDWpr7hchlSEH9FT9sTCRgkPhPtt4ZQv/o2A/awLTUDyt+ysefc6zBvsQY6mZ9JHe1eFfuKJf1kNf3oXNH8ScDlJa69Z1tksN6L3ymEY9qFBGyO1XEuE+1SnNXxcw6jCDXWBSn6BBP8YlA3Wv9wuAp05w0ATCJYDYzhu0pX3+ZoY2I3nkQ6126af1/fEgabxum1lKd7GGC0K/pB2xEqs9G/Lagy5XHMrn1RyvDw2yb4qnSnpdMotKTf0yOramKXTx4tCkBQJMyP7bMZYI9FUzUf+pv1qdBsbS9xJS5pIWNFYQbr9n9G/LkhLs2sXpU5A2u9SwyHJcaTSqS+lSk0gwnJpsRhs9ZH3CF+G4aqWUa8uS7+ptNSVhiS3pe+juqQlZhR+pCN8YncmwKbrqIVzvLoevQm6GEc3poIumCFhhuSwMYiO4HIGKFVCdb2B7WB8Z1zIKW1JC1X0WfNXsL6kn922DWwCL1xbfrKPdFQvLCN4927v+e9AoN2tUuPCU/ydh9ojEfrSbTfER+WD5DmPtK70ZiOKb9WgsCABs22vNS/PTUrNHe4bKRSxl/O0m2fHxuTrcO52eI5dSZcLb/gQVkD4rOFh8ECUPTGWThEBwttJOWzPVsQ2wYErXN1B3yGPCNE7wFgBism9PtHsiTUXwSosTw+6LQxejVEdo05BDC2iggUKu/Ey/qx/4I5S0RdnuZfDiy9wNod7m73XbM8+yPsqvoEO1PHve4IXa2sXrL2reWp0sd/pjqF5O/mIjU3jHWrYsYe2xZ9UbW/Cg/mSuWCiEUq7zeYAzet5YAUxUOx9ZebzmzNGuOkJh4aaYn2raLqIXHs0At5EvMQ4PiFr0zVRzbNp5hnx9+Ni/g2mSN67oqCbDkn2uSPoY7tDmISgQXDWzB5N7Mu6cLfUlC63CTLeZ9HHrx0g85wkhnqz+yD4B6SJqgI+aKaEuW5qo88tJQHz/GNoTNpBFSNZzKJeXt0ki1VhG/huub1wWMn979he8ic4Z+Wy3P5U+nYwhxBS+mrz5IVmah0Vz/rYYqoZSwi6OYKl1/2sr7XPHwOD/ogb8/3t0IQtOpKoUYi00kxV4ZZNALp9ghpZ5BzCehy5/2LJSDNKt5bhoSqZpssvBzEc5YQEOwGnPnCGYWOW2DrbDYBDYUvOwqmgkuwdGsCT96bTLiFaC5KIlGjx3908hdzBw9QfDEK9Zuek7tZrdl0GcUducNqE5dpj9wj1b6Rh3vFORJl4QQ9RpXZ2nzCCbOYmgbNdv4D707UXDIsfdFCT1b7OZs0koeP8NTWuvQlcuijtYr2BKoYNjTRiuODuykSzgal3JAvfenRRFD8mMy/kBOowpuSUI0W7uP37skE1Izo/tFbUa7mMABW+oPD88/NxiwIS7lAURjGS/s8MP04MXlVsRTRx75p/boy6lywYVoEeDh+ENEbpKU8+lxEH3LdNz17FE0CH/LgIP5n1FL3BZmWEE7qfYoIDIYIsPmmLLhz0obdUSE1P5ffMQ+X01bRLYtcn+hxiN6AYx631crzUuVJ8rvg2aKSS0U33i6UP8+faE5xdX5AP3qyWhp9cjVup12BOevPlPddsLRjIUNmNz8CbJFVu8YwlasbJQaZ/q0FgRjIiclMqfOgh32LYXDvBpe6MQxCRgToZZBgEO8vabO4Mzc4krxRv6R4XLWpf+Y5ks3zVnke3ZlHF+vQGaw7xpWNNqNHhNtpbw0FIw5B2W4jprlCVWCkI9ueXGJu11qesxSVktZB10dtEhnxa3QABUmAf6ddggaVRhFxEypH0C/z50KvfFZfT9PQt77GsKM2PUn6CTz7QHfJjuQ60UDfqPpyK1nl0QK372awW5B5Qa9Gy8tyPRbGjoaoSL/l0EE2kcrrd31YQgs3Y8eEk5If0IyNpuOKFcDTWOJtvD3oeb0jj0VDy10fDykqrNFAkO4XK+18aSn9wnHs7+9zSr4F+0Ul277wBlnaFKtka/eLHRcSuuW9DjaKfh60vtYm33ymgnbuWt1cW2GJnxC9yDf0Cii729ShAhMPqK0eiV+/DDjmaXScFXbvzWLYH/Wh2yuiBWVSwISUIgJIMbiQnglD/twb08Q1NLXcAB6vnwcm5Bxw6zv8RblYy9tAfpg+8EHeBaeOpW/WfdoT9F1GGAnoohtu+idLXcV8AHy5eHPrnk7k5lWnWHVrm1QAth6eSrS/TWLEFTE5zek63XgRoAHuSnLmXf5V29EDU9Se2bb8fvFz261Cwjks8k7jnWknRjct7EUXB6sH5Stlvw45l8tv8BSW9xKh7GdNkAl8xeElf/ljYkfTb/88dtnOTRX6WT7vEEmv+voBMr/Qx7JdDSPZVR9aUI4pTz5n2L+VavvaAS+DC8i4Lg07hccoxUDZD+Rz4jAFRjaRW5ECD4u1MpcpvG96N1lQIIm+p6bO4MdDCtYHtdMtfFYgFw5cZwwfT3uzM/NNiW8J6PeXWv7YsRc5+uEIDYaVQbibsFeC/ZuR4QJvWvxFBd6jZJuxQ+dzE8LfoBJOzMdzqac4FzJjOAdRcNFOylPuW9kWtkEamfCRQ/Rmgj9jKjFsw7mNOrVjBq1dVxEoXrOjVvNC70io/EqzPioUTN804NH0CGaXu5QcTqBRnfAro3S8Il6/tFiLYP0QaXqOPBIZicM3UZNGEJgiH0OphR/eaS483LBtUNXQM00QHg5qhJ0R55Fbtv3W+/PXQfv6ytaunWu9lMee12+HR5xZj91nxYd8K48T2FcioiUSoVwTtwJlyuoTGUngvL/kZq4GG3675Wdp2Vk5pxlBjJ6FGGTu19k8nT2EYaN80RS+W1kQhiGnGBSg2uKiRHVfFjHwgAObHJ5HwQcg+hdIR/T9yvAm3cQKpfW/xEhABRN1xHhkOkGcBtbLJA9jkC/7RBXc9smtsUxhBYCbpzaPuc+DWtx7w81zkbdntnBEAYpplzTvoKVJo/sk7Xj7d+UzxhGaKo+E631Cot2W8rektSOhc5gMgd2ab2NZSqhF6jGhuo+8S0k7WNWwdGVcJpuCjaoqs7Pp0GspTXKM5krbo3rf/X3q+zX7a8CJ7Pu5dp8szsfDk764MHbJiCrfHwX58feRtpNulXb6LH0goRUMygF2VGRXKANIMShpP4aqFV9zyUuU31L8Lj8ybOqdQ6z7+LIVfbJy/H1T07OJ6dkzzlwFAPOl7ndilnkgI7cQ3LEl/rpqVHxvr12xSFLAgttGDBdJtyAwTjN/GVQ+fWl+DWHFAGMcZY4JgBWKVkunq2QvEbQGwtn4+yq7qmZFrpc8wfVvFLHe0MVpMso9TlpjQnDxOkAyGi6EuNZmHbvCSLi9yFduAyJEdK1Jd+ALRylJFAYN9kgQ6HMJrCVo7s9CgtC/cPe9Mq5bUl0KNXfZRtGymMK82dyWC+GGi0MX7U3z6DQTyE/b0Je0y1NA2jJqUsSKZOfQosvtxrDh5urBVCeyoTpCjCG1lAcB82TcjGG64n7Yq5Y+Ef7dOdQCOOJQ/QykMX8iSL+XPeWbfwKMHgHMSENU+4hns2meGZM0QpOoRFncphKjgAgp1XZucD0MPjkHUooc1ycpqllxyHNs4h+6Eh/9OXrFGAhChH1dzqvWff1uJiS+IqQPZjiDIU1VDv/4K9mxYaLCPGdLrkr/VaYH8cR+RntpR1RqG7MOyCMvMYiTfAgNUNTgx26qxj7mJkQPIMN7USBCo4Z//csRIpoSi8OemS0kuiVeKVk9XdhII2DTytzS9v9PbX9gronqXLW+csCkMZe9lyb6BEPyCkUysP2EGyt6tKoP3LyhkKWDXne9jtiuBwUFf8lWb6i/r+1bKWUdOBiTBKJnUd3OCycgkfkskOzjdVECLnFig1jiogVm2n3tP6B2e/EHGzoXG0FK/f4P+M40IBJvH3qYbOR0/5dcqvr7BwAi8gAuPSqbvrIjUBRA9NBjL9PhECa4hHA2FOWrD1zejOmZ8x2wsWyLtNJEkIYQ2fCL5j7Onp5ogeJ1tBqiARcQS4ODFgVRMJR6nAdX1f766pZpDt6Xmp/9kTjH+gez03KpkvuHPj9yz+Ms8fMLZfhQfTEWrj/+mUh5tRMQrTZvAyh6JLoZ3aqB6k4TO9mwdYqSw1wPc+bLZkLRXcXolf0j6NEAS8arSznrslTxgZPjY9llhmnorSuf6h/RMNMsJTUmc4bvvpICh9ALra2ew1scWyn8F954Y80/RIKbbJmlQUHwaH8OZoYlQ9OQInpKXCUWsV63rh/JgQ+QY0qKzv7XuHJDVT+LmRT3u5o5Bv5Of/x4r1B0X/cXG3qFQw/4DJa6nHFtZeiRmA+0o5virfdgQSxhujxspkcqY8bwgWmAwY0bWD8b6KBzfkuSb4JwGhO0Ao91W7uHMw1QFhL2CCKHwjdIT090eCdH+H3TkdBQmjFR+YU8bKJzaaP21Jj2hAvgicleni0TJwHKi9MolmqVLR0Z7KqJm7w1N47SGCsDOrANWec3tDgX/LOVrTHY2h2AwVtc2QVg69P2Zxjk1iloSC58ZDFeOakT9CMfy4HPvXipi1Huqv6vGpW1Afht43jHr0bAsNCsnkQQydAkwt0rGkWu0GW/Nm1O21IBT+D6+Assz53Jyi/Jgic1/UjCI7iyyXFBBPZnZklYyJlc1cwUDo9WG2Zzl13DmNcTx/VYGi/80luomcSLiw8s1FHBljTtt4BTUmk3Kn7TF9OdszktPLJR7mXw+cuJCYNoYwYEx740l8PrsT6ntFCqf3nm4gLIKWoTv7gmdusRiqseVktJpJBnuZ2oQkpHlHehsbbh+VQgaUfsa0xa0rB0pLEKUmOfBfw9sYBuXwqqBd0rmvs1MteNufytg/Cv9yTGxwugCR5wIVJU27ullKanvrI50TXYVFm3yx11hmtM/4vW47kvMq919A99rb2VLYWhk74X4dgUe+i5KDzXJqEAFQxj58DmH8Dz6kslYMHxY7/fGatB+HXVgo83QxTsJj99zVJH3A7Nkhnkbn/DqO1h3tKJs3PYJjfXkoNkSG6WlPwLjVsRcSreCDTeCwH2tqbqgeKBtv6LRU8dx1zDDGLWdLa8gb2M9klnbGiYh8iggQ9ivnFw6UPpH84yYcdYwslWduydGgy9rtWiVZ20b5jG1hRskjIU/jNrvFipxz7YYiOxLnn9hKi9Bs53+QtdWzHEFMCurq3yukR/90k2ZqQX8xvsxy17edwpMTYOw/2opJnJUVhrkXT13noVg5v61z/X3/en2yltmk2CraQKU2KoH4zgNSXsZ8q/+SsyMejcbq7V3sktp8aAhz0hX/7egSvh23MbwCvc/EulV3fqUiYXmtE9dVgi0ZB4lAgAv/fSKtk6CazQQp9+iRhSoAWvU+Jvy5Hofp2Iy2QjnJ1gylKFxOOxV5l/7WiQMg1jV1VsAVloZYrO/M6S3FJAsHhYgJxWu5Hfp2kIdeLJ+2ROcd3J/2FcROs5FUIF+q9MwAkZhOQM+o14/yEcZyrH6APAUF/dS5FIn57GO5hbEf1mvI4ZFVFGcfJ00QiW3LPdSf8ke3xu6WpFXPUEgvupc/kNr5Xn4WdgQeRD18WZgIQwNMLgB5Nhyz4N8WboYf7tFo07rfinv4RrAmyocus7eJPgDd7Ej2m4IbPAIxvQIFV++NLfmeXxDuSHUTNGUh11++ZEd1A0Wiqhjv1qd7VHXNaMXYlZPtbZ9RYytJy05mIxIRFkjUJ5wfKIxWwo6TZ3sF6d1ovS3PUJMUzWRBiQBK2fjAjObAaAcsvUen+6WVxdLrU6vnnNEU4k5VPCZXHHnzCbWhGwUcnizfKtecBVhVphKj0iUUhm+owDKRxPI8pyscUDtlQUm+KETYdYLp9vwlAfpOBiqd8DDz5+HE91AOkP6ujcaT06fCDbVyhxfKdWnGNIL1kpByFCkfVx9DvkgGzv/Bfp2NPl4B8zREgDSx+YC0XQZzdJqmJyYwT+OPvnDcRxnW5LGcIB3TajN+8f25hIjNZfo165zZB+T7Xn77TvPUkHjuF1lTKqlPLmA1u2GfZ0PgvvbiQ8KsikiecbfTIIyrPH125WKl5yiIyC+D2qKdUzCmx9aEfvE59d6YqeqkvSXBjBPFYDgWIH+ONgc0WTgimvJKQ07Xlic66LeB/zgZCePtmwl2/fKjNTN21UCIh2clc7/5xhjD3XOR9U/nWFKNKijTwDSWsi4WAGNKes1UFDrxqi1hlRKxA92crkLdZ+bD0Qz+V2Jmo3mDBzQf3iwLIvqpC3KZnLLS3ykGSh3DLuzAMPIxqV/8Vefw3I0E3D+gEObPq8ObfYQeqGDw4RMHbbIuu+HZF1zNJGdVZfoNinmTjvbvJ7yEt7RbBlYRKUxTnZxxf3gFhbXz2JrLbufgYdHRXrIDjbWhyUjDTp8eYw63ZtEVJppYJR6pPa6a1GKmldudMFOVjNoYBnXHg7vGnp0zLXe94TDVVVfo2TYM8UZAi0nzf5QO29e9XdlfH8HcTo0sTiJXcY3aDSM2cI+/5PujdvHWBEw5W3AAEeg206FOfwGtXcHdu5GfWTpgfMXz5aFotkosKybDnoteG8HdRyGyDqv7DyNS2RHHiADxkSoG3wKqxBaY5YO/QLkXH2IJex/udkoKCckiPqcIafvNxsHlg7VYYgWK5Eru53qzX9+GZfgsc9FcWlQye+8mfzn3HQggmOeeciEjAfJ/WbQdsGH2DB0TiIpNaW5pMEzggUF2zUrQdXe/ZoOLPt3Wn0eIbJUpIehEOxoodKQ4OPxipySE3RzST6t8tyPPKYpvFT0Cgctd6I1bMClCzX1Q7S+hbXIovBDG1XhuUlvM/QnHxtMQUbyEWS/kQYcmFXv/pwla0aER2/o3RyX4mtJGJiaRQMfkFQoFIKJV7gr7B03x9GTPTAkPPNbEi+fS7H9hZmXaQyMt62TZhfP5NqljKfwW95rKJG9NJcyB6c/HDmjflOBpVNLC24XsUYDa+ppCawh5kWQDJwVY/2nc9ceT+Ww/K6j4T5zpPIvgroswc6DP9BeyG2ahfuMTaqckMqyBw5/lUt60DiFwU/kNV0lghOASEtI4g00wXRsLKi2ZztVpqDxnY7dV7Hs4AmzxU1ogMU3f+FKMY6+e69H1/gUWQJcNM68eRidLc9EXy/qfFi59A9j5qM4bWfUi11uqJh78QiNqMUc7oCFh1LSfc0yRbYw6bwt9wVLq+4x2ioojpEqZhoguJnrvIUoUW/kbD1HiksVw1E9mNUZNYwo4ZusA4WxEHJEnEKprUhyAWF0LIEnatnagTxiUCkyiIIgT6SNu52eWDIfzCXOpv3m3MWAh4nxPu/YPHFkn1WW39HZqpOPGgNuWQHq18an9dunE8krBPKGXMEU7u2RAypVlLYoyU7ujM/LOEIsoVnofI6zGtY1n+f+TCh8FxEkHBjU+4YsWiHqcQLzKpzxnSfpR3RuvvTen7mOYHVmkws3FCFyqPEK18qMBMIEFJj+c5iMN0dkWJhd9HpAVMBGUuEiq+cqYNm5QZaiBOPUSRS4JAl7y1/zLL55pIhRvVfVAHZ8Sx6Q90XEHAQJGs40Ii50YRFvlk9FcRyMYynZWLhSCTOdZxCYmLZuxrzkNqCr2OkOwQAdlypCTjM5b4xvsUwIrahKAQz48HWPa/NKQLNs7Yh7SFGgTmykpyO/ZDkN6pP/KZeIansm8JWCN6Yi41kz6zzn34u5F3aEpnZGJucLOFVPHHg57Aen4EogJbUfBW0Tx6UF6zE5wOIwbiJ9emxkbn9JKPQJ0NyNUBerIoNBnOSWriQfwmWBg0TCTlzLWfNh+1+eqmwY1yQcsmMjlSBRIR7mybwZ2YpdE1VfQtysMbozvmZxMECZKjJF6Hu6pYakBmwPHabxr176ubmz+Kg/rzC69hnE06NEO7BBs7zlCBp7gpDq1eFnSDXgsKdqRnR3m+5k4coFX4eTRUvo9jikvEgFtxgkJi5e4HI+L+GZQ5VR/BGC9aGcNLZQpMURjCmAzrAeqAvFz7nTp/ywAvGK2fN0T+IFY7QEMXraNQ3kbToEKBxcmv+IDU+qn6MVWM8ZOA44soGwQ7x1n3K78nhUvV2bhM51FzTx603ZfrpJiQF3dFfF88uAa1oWYJemb/mYboKNoA8+XPjM3Ym6MfbPWxS3ysgQqYkbxwzUQcIijqBrFwwqLqWKl5dT1COPsthYBsR5eC6262GYIfO6H0+tPq3HCsp6rJJELZodHItkf82mjnkm1y1HF34zoT7kN5OUt2m+FVGJmpI+g/c75xwIaecWuebhvEvHkdqg4GJvnXeX3WwFFzx7oQfrBBeB1ID5t+7TYYF9emg8+Jig4YLUF0ALdYsoX04duuWt1y3snM0SAqrvfNcI2O+5tE9UFei2rH1m/esiayk/jq1hLHdl6qCKIH2MkkXFX9YPIXdfZdXserGTXrYc7LEo64hMHbL/nkfwyTh/qr7/iHh858YIl9vDjvSq4lDB1OA+qAPwWDJ7CUrxgf4GrMpQWg7JchWy6w6COQKd5H34YyJqkaoeeSJtp8NF80Rqu495q6Vae+4LE+ltUKhTlS+NNGavF4a9e6udZS9QXddFNPwpTnPNTSAVdMzmmlFfNcTYFjpm3fA6ZibOzxUYDT9gS2x3KxmPgPIHdM6nDY1Rh2i4Kyqovce6GLodFSd4sYz+6Dt/E5p3mChS4MpXmZTL9c4B7hucHTQdqr9dYsHxNdFONv4m90+Y+B2+MrvXzRoE+FKImU3cw1HBQ6mc4WYjM8EJJ8oY/euPP3NlpTTbHePEoF5263K1f45c4UXEKg6bUABruPe0Pz02/ylZ1d3gACskU4bdGEcxoPo5UreZs5mqih4bvbZgJn913tscUnP/WHLSqcemTRy5aqPs/sVkWq+gRnr0i++eRkZdsA9hoAADalg+t7AgfTqKJ3WStgOC9Af9Ku9p4JBuF9hdv4mQqv9om1R062Z+C4dmq9Ak/J9+hzH0B2RDzxq/oNzuVMForB/z2e1Fi0BbjuOSgOT0u5Hi0oYsQnA17McN9uAevF2e7EOx2TuVtCJyivgowhk6RSCE/k4lNwSWowcbq/rNT/ZL2OFZ8FQlYZM1A2Olq7rM3wPlQkrMCo5SBTm/8uaZIIjNPnMD4OJeFDj3xq/m542JJsxI8MMkjFzlWMRVwYNLU/mN+Ing5T89diM81Q/8cWxtFrfbXiZepH9AP5FBz1aXaeVQUxu63XMGsxjqwUS0KeRol5p9flptAoTdgxlgEfXOE1IT3A1pdli0FOWuPRsa0uHTO5dV1fkclkRewpp7MJo3BB77rJXiaX//3pJaUOrv1sP4ZWsnr9BWPlQwb/9e4JYwYnHEY2EgqnXsvg76D58zYxy1IYmLhQF2J08rk6dzBCpbjWeYLoKkgjK3mPdNf6xm7Bd6s2Jj6q11hwva7Uxwv3CQzx7VMxdGlROHsREG58VF8g7EkrJeD9JW66uVgqCH83bwf6ZkQWtsI+HjRx0Q3uH1RRKFWH+CgDAkpSkGt52iiXJFb1VMcWgZra9ns0oEbtrNes3itfiPDpVAkSXT4DjSodb7J+XhPVReabS5JcNWjvHhpvjn8GsuR2kGPkgM13Vpk97TBHKpMfn02z4IJIBxQsDGSDjZ027Rha+E1FK2+/dYirFwpUD+kRumH+HJSWOfuRHrdOShKPc6rTQb0YGH/1imxayt4FQzNZys95cumQ3Vfc4nb8VbRcaY62JjQUZXupgZiElUJjaJpHaM/xmtmN5Dhqk4hpGwTLixATWoxuz5EYrJWSK285OJy6qNVajXoaMlOUw2aYoOH3FcenpRQT16+4kRP5gAAOKT17ENyoDeeTawynl8+5l0x7xsfp5SNKOImQkZ4jmrvz7YPrCtVjWP8o/oNZ+rM4uzBFOVqqtSgqIjjI9ds0ginlDZthiw4rMzIvaVYzziV733Vl/dmie2vGgyYN57cmYbRoP62ehGQWAHtyO9aoZSz+krFhlQqxnW5wkk6V6NBLQ3lMEEGEISXQLyM/RLxHWiFJIfjeusTOhez7xlHMIaKZ7+xAj0RXXMBNyFTT5Huw2tb12dvbp61Pp8qu1jyzR9fUgDs2X7kEtcsaJ5GWFnGHWCk+TjNco/qEHN/0XLM9FRElMJJQFGkpoygl5V7s2ljL0+YN8EoUYwwfyZ/WUSH0/p/MyYxIdyUCbzyVIayqJhtSNfgGR8hCbJkWi+1CSxMp0UB+LBsQQss86G5baGUhjixsj1wqrclWU5IjxUTBJ9FRG1mGcL2yolaZvJuoRgaczIORq28i2GY9kyTsQ04JVVd2bfo7KAvvkLVs28npFN5+r3yA0tZxa6GpZ442S36tViFKwBmeDIy7U+tMbtvt6uqfrCYUdQ7BUx+TvKU10CWha3tT3Kcz0YnmWcnOVjKzhWUIcsbf9S7PyTNlFt05nZrWGfYqRndcVtJaC2LJUA8f+yPV/2p1OZKswd4RU+KYToexF3SCTL13YN9KDWPenuhfuoRzn6WIu1Np7MZJEEUGruALKZp1rpuQJ1wc5cw/zhRGy90F7rRfhtgwhff37EMe6TluDXMuDJl43vaeT+sSN1ADB0QVrI41iDliTDPO88Fi7uQcr+0IAbt3fqwdjVIE0EJJurrJw+ZM82PiUIzcZzJI3VDhbjdReOdXxRxOa5PXkcai87Mzip27B748sVjIX96FHJAYn1T+gu2E+WV6/wtbg3MH4yTtb1srJQVdW3k6SefqDXIWSQlWu62eT44NTShJaHp5Z2Y6Fja8kXVzR9gzgzw7fux5+4j/Oj99qkaP78hSPjSaBfIL2OvG0BtKnty/eaGZyPfnyr/O68Yp0VDm66OtipvSO3CHb6ygVJl06yV30Bac42+VtofHAXuO9hU3jSWkjVeHP/bbfWhtR9SVIcIsZHiW0VXQ7WyL3ROwRmRkyGOk8bTVOjgu9X8aKlQqh5ENTNCVrFGz1tKVSNFvH3ixvhAXx8nD4XrJLnXKN5/t/4GCKybb65MkvjEbm2aMUgY8mkiyT/AtLPweWzphVgeQ5eDB8vzrVyQ6JbjbNcHE+OCEUBdL6hNsorBGVuMWfkuVe3iQjbpyxMBQX45rgwBfhnCwLXuztbumsV7XOYLYtDLe6GGexag7Nao10+pDZW5pLmKbf6OJ+6IoFV0xOci1erqb03aqCWISaS3gpiWVGwyHEyRSUMRkImVbPjWhm+GB8jzTIDZiOSrTHTMtiZBzRgw7i7fBj0WzNaYufQAOP8Gff5OGjiqNS294jInMSkN2zxYeWTagP+6J+eer/7jyw8qAhSaGcjsZ617T31FRfYsS58+Qx5jmjedxL61YeU5QzuRHxNhA+4VM5/Xo9uExtVFyW/5LuFrMoS/+ab73Ei7zBcshq7X4/Ea3GoUbiAYlT6nYaGszNQdGh+38hJ2sS+OsSZcdu2INeZMk93MIik9fPreXSqoyJO+dVWplQcZqrClNhXFSQ16gntKW76/Pz3X72Qy9vzQsJsx9LV39K95b4PaoWYIHndOxrGkm3QHLsc0yWWjXeh2Sst+/Vg590ElEMZ9ejSRtlvkwf0VmPa1rj6Fo6SVf59CoabErcQ1OdONAVV82xUk9iwDvwvr8+ZCPZCOpIkxahifcgHbFUPb3aMm8AQB8k6e7+qslyH2mK5e66iehVAy7xoPrqPkQKfeXvOmijz67mBulOiikktqLiX+VsdUD5OCjxLJyT56FmW0Ni5SpOfA0r7oCdDSXRkerNpYK6oH1G0EjGF726UDDUmn8L1ES2R02bX6ES2C78kMVjqREsrdy0amCZKFA1DxmWlWYfXL3zSQmQcYuEqstZxnuD98aJZGrHS5CMBtQ4DmRD8ci58cgE5rpwL2WmSL9uU8fJ3IdJBBQXHtDNz0EHIw6VYleMVipFZz7Oglu1UdgE74bCa6aVmxNvJK2uAo4IfTY7ELKwdMk3V4Zu4z4FAn7Eq9su0S9HCxCAEQaChnEhlqGgkX4f1guw/ZWWo8J4Sg9FnpsQblZoh4Dnoaqz/UHPJ5AiwsJas43ijRGKMcXRGMH80riWzJyqjWTV4dY9RjsNwNdYTjpmm6ANInnnM4pwiR0Y9QMn+HIZHqmVmwJ+MM3Rwf6DOUWnvxUnO0fFxD+CNAwiLAytoBpWGS2QdlEvHwsmLsAvUe+VRQuld+rj3h6C1u0/Y5cN2cXV1lFkm6agGCWu7y8Hr/W7YuFB7vMynpCgPfeoDhjIPLW6eFDD4e0Me2ulSvHOT5S6+b4xwkCwBs0Bl9RgV3eeguJ40/MRNwwF6P2salF5fJTeHRTMrJR7IG+0gre/rbfrgM4YwmwAjLRwg7hWmZijShijl0YgB911lqcQaUMznEy0iXTK6v6lrV+A3aTaP/Bwyauntsv/HJ0WMfhk/0ilJaARLsXAPYnveI8J6D86UBmcZ80smwY+Hd2wWZ2vwSQwZc5EQhtI4IFDEuF5eRWi8yxrEVIDc9/fL1Fo4U1pkMCx2FQ413LTykzkbV34rkKuv4633CFdIvLV5snP6UuwjY8dwg5iiekuaZQgLdVWWX9I0AWWQgzURS8y1rvkqAe3kEWvZ0GHzPKrYdQUhz4QLjF4iXp/jm7KJRJsZm+nZhCCaRl3FNy9ZzTFSwQNo5eWo3Z721fpaS8L+hs8ZbRZy0ObGtRQ6qiJNPaXjXLgvqMAidz8otVqE3rquQQJ+Gkm9zdacZaSuLotXkC8xoLRQL2W76xtHYq/+t/hmd/7qaPOQNCsuG5lbn1AvcX2WV5/siVaybWBkasx8hCSOC5yxEw5Y8LTxEFDmy7H50uYjDMjmib+HH0KUU8Z/DNU6x+JpIjihGSVRd1DUzzyQuYXsIxQ+0TgWUFwpGLJxLiKJ3JEV4+kqHYeDvTZBz8yE6LYVvrYspAYQpxyRe2o6NeYFttOmTv6nQuylOyMEGTOoCZ1UHSqlDjaY1hv6i3gYg/2boafW3ZOP4etvFEQXmhymvU29rp88aMBX8VuDD8J4STMmqFNfhGKOrasxBLBeLobh80K+2GNLXnyfCV8xGDOHjA9u4sMu1KA2++2cM56MLOcv9Tdk74NNH7Xy7jtPzWUXzVgrBIeFqtxfg9pe52R6sWDje36gp7uGTNsAm/vAjoDoUcw4QJgLbOwR7bVXjPu+epF8mcKnaSHwM0EZ2E5Mmkg4z2CSXxJ95LwasJe8WpHR4KWz/c6yxETsFGteTNmmAhkiSOI2CGjZKpkjC15u34A4IU8bj11B1aDuXbP1c3hhfZ+mSC+3DFD6wV7Ql+L0ti6DEjDMHyLwRQQL5Kp0EnR42o3syQCbsv9rDZbzuRd5rUflZ31zUJipEy2coEHQlIE1d8JkmoGW5DarLBopQyVrWh+2wiMGU3RUKdLICUnq+MPgcEvzOXej2/6iCDlJHo9kqPuENS1nU9te8ihDy5Q9t41cF/P22aCsYGBwlXp5oHfvb5dUFPBoj49SxR6ZW4fU2rV9WC3sUEpI1EqBjEgdRop+Ip6ahOPl1AN5imcnWvbeRbOF2Wga3HiwjfL2vxW1tpgJHleB3wWR9L7LdsFxhvBgFI7/BpAcsNnfeJIapDtCh2MXOTTD7hHc+f+UuT0VeuJOi+utAa2brTJSUeuvkQyxuWSiOO0CbXpRKZnC5h62kdZPPooQcbNLkBhpTk3fCG06pAv1YuPWrFsQCGJd4++LMLaw+A1WITJuy613g2lJQyRO3E7RsGax5moTo57xibKqGbuJhmXI3vi9L+5fjddpp5PgQQsk6yFuuaUMuz6HnTYqQJs6muNUOsgUy3H1vGnBSu9QbHOU3jGLpCK1LYO7ti7qse3xzrZDBhCcArs3OrCzUeg5mYddl5nL9FqTritR8XQB3YFWdIcL79ezz02LCWVP0TsJf3I6b0vnx2PMq6G9virFfkjTUCB8S6PunHWG4Ns3+BkvtJUQ4l8JmyJK3nrjoL2TykFE6Dpmb5rJK6HKSYZH5WYtQS3WOjv91iv6vY5+uoDjsuSC8uXPabzF32m8X/z2pejaYeE+eaUieWZoAXmzoFgBMEj+fvjZWmqaDILo103VfSv5tB3FHXhkE4ou4AONmuDGgHj2jBjMIOAwJ0iWZ2sck483/2hY2Xn21g/CKnOa6TzPxWha+FIhsbiRd6gsvfEHDcFwuPt332y3T1ns7bcvMQ5kxKykmscSL+ATFAJUkWAPEGnsPyZzFxFC5xOXZstE6rnJu8/0LhTXmjxlX4KhMHGZRwThbAN4si/gjkJWt20rc/ZB3VIrkQ9lHHp1On8rAsSwmop4nu5g81LgEBqJceD1m9iJxNwrwbgCJistQXF3siMoRZyE2QRhxf264mBAx40H3nVxqCQ/uslkP9hThaWMYjdThIr2gkg6DN5Zi4aT+ngY/tCQcp452UdNYqFVXBkVvP557VqA1/NF2ZJhL5suARvLDlbhB4Ce7L78jfLMLDRhSK5KtVDA0Ou6A7GnhOsGSsxqdKF4qsf8ggedVKfNYRoebnZQ7UdKE9yvAf3AqJT6B0mVS84I7ngEuIljyvwvHoaVhY+3vRG0ZsYyPRtbbLjrnivUJbidGyEUn9NivyvLjC28dPgfdPcggBQmPKW2aAkZL1g+B4SrL8xHZsFegRmjLkUr0ptT6CBfVQnDU2kKs9WX4iKp3sDonYbfcf6uqDh8D73IsLnXhrwlZYggT5ty5CElK9owXH/vAO3/KfwGWFy7c0as2MfYLtQm6PHrBiB2lXKmErzovAgWpUZss8Zz3IezzGawdYKjcOiEr7yqn3uVrL/fsJzpCQ9iD5/mm4odQOIXr1OZhiLLw9OIRXGPnSCtnb/V5Tf5caz6LKLfc/fI4/tA0/QfT2VN8NzNRnkJfoomHbiXKi32JGgFJNfdG00FlDG9HoVvcTQ/eTJHGv168C508JWnoDjkYD9JsXh7QPRiqo3rQXJ8L6TiM2SdWMLWqygBtPkE70s6YRODlwKa1W7li/KRtJZrrBa08CpHbyDxAKpCdU0BY36IvRYe9BdpXb2F3V+dkOtIU3NYe2FbavIzf74lhx9OhjYgNXmCCtpwz+Ovg7ugpu7ffHa4DFINliRtYWNDbP7NFq3l4djZFQ8sS8Y5axnfXop+sasbeWMPEhxZiSQsAyC+1JhDulwmxrZOxvzj8JsU993xJi/s1sPcIlm+HlxwIwHhgvwUgilOmrq4LklnGZGeRxHEbIoha8ag0XyxyncCrOkfkBHRwDUk0lyTFVKPzvm0ImGm99tP5bBjgmY0/SanCkKPr3l8+oUe2VjltuvtY1r+r+UrO/xsJ1ULx3zk1HWBsmO4251S8wk7OOdf1soOwTPlcF54JDdeRehnT+kAPdwmRu/XkrOqnLpPEgG2TtKvC1mqF9eLJBk6C0JBEt+aANBXWy6HTbEGARIYw37IenIoVBu6Z2NnGOOXicPEgg/rTFEuLIwmOkeY3FohSyjU9sv0M2J6rwt1uNdm4xBRu7fD6mhOG7VB/a+uFMsVY3c9YLKmYm0oSWiSVoW9Z6jRFXGnJicXG/my64yNPEFsFAyJ5EmLWS0PUPANHX6FP5Vi4c1CR08r6FBUySgEdpt4WOGO+Sc20bcSiuJm03I9SKSn/VEBpeWliFovT1EMEAa0B6sOFgzqmsWGOZU1A0aM9K/d2qBR0sFRZSbQp3MvelCVHymrvyABgWJzPM1ixedcoVQULM9pwNzBXfzUOuLByZtMNu22pyo0se7rhuBdvhJDCV0qPHk8YoxRHpwABcXUa6XlYAV9UsfdJFnZtYYw6TVZx0vIwWBrTO/+/GG1rjKzsVEFGAkD1b9wCY4jiVIvMyphELWOCQN8g3RTwnsJ/7axEqgh3VfEB5ujh1xwN5t8qnHHVWZ4BM1dxBiyA12DNvf9budGWY0YI5aFlkPyv4wqhvN0BeaHeXwO1qsrx2OiZgobGwLFhXo+DUsb5gh+JbgMj79S1C+sZzAGRkpjtiuBxIZ0GwvqKFJrXoL/UcSQzkOlPO4QlptQv1c2/Pnc9CcQAfbbSbw7vrdSvXscwB1QnOmYsRvV6kmu7PbRlmn/N4pLWLqx8np+APUjVWScfkh2qdVQr01dGp0799avFjzemuG/4/nOPkgOH29sxg6z6jsU2VpBkeceeYAF1AOt9nPbwx/t6OaDgWjrtsvvSaJfbuqWg29pDzxXspQymLo5xNxtYWs90NllQ/Is4wrXCkrB0RsWzxoXpi14iE5CG2J8IYQSfEYCmCXBhY2ICV4WWF0AVGQ0EfS0ndVZNX2UiyiktYnW5cuauyHtgO2NIHH6sPftC4cPEcBJ9SlASK2RYvaswyMLk/CbZV24aOdDrkNOCAXuvBQ0AB40+A+OfEd9atN8QLfCVXdC/sHWJq2FHkn0dDw+69uxXjadJOHJR129mH8SWcEubkIL6Rdy843v/+xEi+V1WIBhwDpLKK5D/Cftf+lsrEhjU26wJHCV1s8xcDFNrZMIMH8k95z3y3QTf7tDKGAkXxi7j9DvQYp+d7qyCIInm59E7QeWrv12xBCDCU3KYdu52wXlVw2gk5Kz2rv36I7hTSjrzzPnjMlMeKLllncExI6rRmk34S034zt6ksWzO0olKq4owjJ70BT4E2iFlUtHIRW0nTrNv0hPiivWsyyThdXtOzFVL34dBpNKzqAJhAsEysm1+MV6iRcszEHbmtMEstVzH3Z7e76USQ/pPRVmcPQjnidnI0LYNvZHk9IRpn9IjwayzyX0H0IumQnb6qC1YYgOlgWunptMWOfnpbiUq7AL3MIn5PeSjpEqe+ZdkpXYLkGzioYva/sIdQlZBloHB5WX/ZgKwnrbHzMxPtMdkJRVaB+wQdDoo5D5Zkl/W+4a/R1CSTKJzf1i++dTk7K0PDpjyEPil/64k9VNAwnY19X2YLFPik37GlCK3Aca5u8CXNCPZadKSRQMU+dUed+BlwAV5X6JGBqKTQuq9vp8qgnhIfuqjbUvd6LTq416V/CEq/v1lx9r+z1liqa+ePhcfobRthY/KUMv7zE7zjKyUQKFOgVwX7x20I750+sUkny4AxtdiH/IG1T87BTaYlTGDNbLlDTlRxVSZyx3BLrREEMrNeWfIB8uSLhUFR4493Z6VmES06jhEozN9nhZ1fWKIB307Yo+EP4DuPztkjQesxrr+whOdOSoCm9W6CyWdNXRNEWeZOnPXi/ekzVagu/sih383+YZkfypggwpr4f0zbX/T72DqwYIB1H81/j4yowj9HouLJ3khP8zDXgi4kBDUTyBFnLgdH5nY/zVb5P4MR2rH3nhu1Fe6WjyvpickKxgsO/Vwen1h4Je1TmkN6L1MU6yHDl8ExyvGEo69kwAOuS1Kh9v8u4EGp7iegYprHeE6fS/GcNBb2C1eFSFKtRnBIbLaCK4bj8c2AD7SGxBGUs3WeUjIuHd5vAdPDILQrR/2UuDHiHQUmv9n4JHKpMOtg1bfxLsMVjgqDmcwAmQqccrSgOkmV5w0v6b8jz8K1UGOCejEqmd8AzQkY/I+KFh2jd+OCdICO8lAnegkUAoW3eSbR7TiyykoEOOWxRzOUHd/Mb1ktf8pk1DB+e1MUhKIqgtdkgT+VOWehQCCQae51SfyJof1eF0MOqGnv/VzNrI4jUdyRJ2WpaoLyuJIK9kzUD6KrtrXO51yrkWZqKGntqJcMvRXRbku5wMcLdeLGDr+J34nvAMINZ1Y9hCK9TtryJ49j3IKyeKusw12psIAWUeSNocNR5+11SNK1jKlRDGIOw0R9dQLWsH0x60JWHMAZLKYj615qc4eFz3+jpD93wKRtiTeHNyuXWkl6llZ5sZ/ZBizNOFm10r6LIfEL9VYnDHfDB7Pjnu5vPiimpHkn/ZZ6ndC2xpbuTeLjM8s9Io7tWU3bOgYG0VlBPeDqOswKtXCIZOo4cvynKpnCCKLkQoZLZOsPcjxPKbUBbABsOhvzCa2dRCOvzsBSiBcDbD0q/F3AVXB5Z/uTb55vX2QTu+MCwCE6d8YyP5Wq4cAMXpW589CQdkUlH/10L31mFu8QvVrBV/VynGSA==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F6C0EA1-03D5-492C-9937-30F7B6613D57}">
  <we:reference id="70ed8778-2a1c-4697-8cf0-5cf67c93b7b6" version="1.1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94BD78EE014641871BE0AC327E8323" ma:contentTypeVersion="5" ma:contentTypeDescription="Create a new document." ma:contentTypeScope="" ma:versionID="025aef7002659a7f9fb751630d0294d9">
  <xsd:schema xmlns:xsd="http://www.w3.org/2001/XMLSchema" xmlns:xs="http://www.w3.org/2001/XMLSchema" xmlns:p="http://schemas.microsoft.com/office/2006/metadata/properties" xmlns:ns2="84ff6eb5-ea5c-4414-bca8-f7b0b13905c1" targetNamespace="http://schemas.microsoft.com/office/2006/metadata/properties" ma:root="true" ma:fieldsID="31d543ae2954dc5e11d6a263e3385a09" ns2:_="">
    <xsd:import namespace="84ff6eb5-ea5c-4414-bca8-f7b0b13905c1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ff6eb5-ea5c-4414-bca8-f7b0b13905c1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84ff6eb5-ea5c-4414-bca8-f7b0b13905c1" xsi:nil="true"/>
  </documentManagement>
</p:properties>
</file>

<file path=customXml/itemProps1.xml><?xml version="1.0" encoding="utf-8"?>
<ds:datastoreItem xmlns:ds="http://schemas.openxmlformats.org/officeDocument/2006/customXml" ds:itemID="{3C060102-4DCE-4EFA-B35A-170705A180B4}">
  <ds:schemaRefs>
    <ds:schemaRef ds:uri="84ff6eb5-ea5c-4414-bca8-f7b0b13905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67CF06-2CD7-4D7F-85A6-84F8F4780F1A}">
  <ds:schemaRefs>
    <ds:schemaRef ds:uri="84ff6eb5-ea5c-4414-bca8-f7b0b13905c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227</Words>
  <Application>Microsoft Office PowerPoint</Application>
  <PresentationFormat>Widescreen</PresentationFormat>
  <Paragraphs>29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Bain Core</vt:lpstr>
      <vt:lpstr>think-cell Slide</vt:lpstr>
      <vt:lpstr>Marketing spend: San Pellegrino and Perrier are the top spenders among peers, with Perrier showing a remarkable YoY surge fueled entirely by online channels</vt:lpstr>
      <vt:lpstr>Marketing channel mix: San Pellegrino and Perrier are outperforming peers with higher investments and a more diversified channel mix</vt:lpstr>
      <vt:lpstr>Digital ads: San Pellegrino and Perrier lead peer investments with the most diversified channel mix, yet have room to improve efficiency by lowering their CPM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phrodite – BCN PEG Digital Diagnostic</dc:title>
  <dc:creator>Dantes, Reuben</dc:creator>
  <cp:lastModifiedBy>Singh, Ujjwal</cp:lastModifiedBy>
  <cp:revision>3</cp:revision>
  <cp:lastPrinted>2017-02-15T14:23:56Z</cp:lastPrinted>
  <dcterms:created xsi:type="dcterms:W3CDTF">2023-10-17T19:56:54Z</dcterms:created>
  <dcterms:modified xsi:type="dcterms:W3CDTF">2025-05-22T07:4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94BD78EE014641871BE0AC327E8323</vt:lpwstr>
  </property>
</Properties>
</file>